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1.xml" ContentType="application/vnd.openxmlformats-officedocument.presentationml.tags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4.xml" ContentType="application/vnd.openxmlformats-officedocument.theme+xml"/>
  <Override PartName="/ppt/tags/tag4.xml" ContentType="application/vnd.openxmlformats-officedocument.presentationml.tag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heme/theme6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2" r:id="rId1"/>
    <p:sldMasterId id="2147483665" r:id="rId2"/>
    <p:sldMasterId id="2147483668" r:id="rId3"/>
    <p:sldMasterId id="2147483673" r:id="rId4"/>
    <p:sldMasterId id="2147483697" r:id="rId5"/>
  </p:sldMasterIdLst>
  <p:notesMasterIdLst>
    <p:notesMasterId r:id="rId15"/>
  </p:notesMasterIdLst>
  <p:sldIdLst>
    <p:sldId id="341" r:id="rId6"/>
    <p:sldId id="387" r:id="rId7"/>
    <p:sldId id="390" r:id="rId8"/>
    <p:sldId id="391" r:id="rId9"/>
    <p:sldId id="392" r:id="rId10"/>
    <p:sldId id="393" r:id="rId11"/>
    <p:sldId id="396" r:id="rId12"/>
    <p:sldId id="397" r:id="rId13"/>
    <p:sldId id="337" r:id="rId14"/>
  </p:sldIdLst>
  <p:sldSz cx="12192000" cy="6858000"/>
  <p:notesSz cx="6669088" cy="97758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642" userDrawn="1">
          <p15:clr>
            <a:srgbClr val="A4A3A4"/>
          </p15:clr>
        </p15:guide>
        <p15:guide id="2" pos="2865" userDrawn="1">
          <p15:clr>
            <a:srgbClr val="A4A3A4"/>
          </p15:clr>
        </p15:guide>
        <p15:guide id="3" pos="7174" userDrawn="1">
          <p15:clr>
            <a:srgbClr val="A4A3A4"/>
          </p15:clr>
        </p15:guide>
        <p15:guide id="4" pos="3953" userDrawn="1">
          <p15:clr>
            <a:srgbClr val="A4A3A4"/>
          </p15:clr>
        </p15:guide>
        <p15:guide id="5" orient="horz" pos="2999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Павел Виноградов" initials="ПВ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060"/>
    <a:srgbClr val="0C1D32"/>
    <a:srgbClr val="FF4215"/>
    <a:srgbClr val="0000FF"/>
    <a:srgbClr val="FF9999"/>
    <a:srgbClr val="FF66CC"/>
    <a:srgbClr val="FB6C3F"/>
    <a:srgbClr val="BC3004"/>
    <a:srgbClr val="7030A0"/>
    <a:srgbClr val="B686D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Средний стиль 2 — акцент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Средний стиль 2 —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706" autoAdjust="0"/>
    <p:restoredTop sz="99472" autoAdjust="0"/>
  </p:normalViewPr>
  <p:slideViewPr>
    <p:cSldViewPr snapToGrid="0">
      <p:cViewPr varScale="1">
        <p:scale>
          <a:sx n="73" d="100"/>
          <a:sy n="73" d="100"/>
        </p:scale>
        <p:origin x="732" y="54"/>
      </p:cViewPr>
      <p:guideLst>
        <p:guide pos="642"/>
        <p:guide pos="2865"/>
        <p:guide pos="7174"/>
        <p:guide pos="3953"/>
        <p:guide orient="horz" pos="299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-1866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viewProps" Target="viewProps.xml"/><Relationship Id="rId3" Type="http://schemas.openxmlformats.org/officeDocument/2006/relationships/slideMaster" Target="slideMasters/slideMaster3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5.xml"/><Relationship Id="rId19" Type="http://schemas.openxmlformats.org/officeDocument/2006/relationships/theme" Target="theme/theme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8892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778250" y="0"/>
            <a:ext cx="2889250" cy="4905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C313FA-233C-4969-8B19-ED1ED004EE67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03225" y="1222375"/>
            <a:ext cx="5862638" cy="32988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66750" y="4705350"/>
            <a:ext cx="5335588" cy="38481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285288"/>
            <a:ext cx="2889250" cy="4905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778250" y="9285288"/>
            <a:ext cx="2889250" cy="49053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5DA4746-5960-4BC6-B2E5-F0DB5FBBF97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8101895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9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A4746-5960-4BC6-B2E5-F0DB5FBBF973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6601501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9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A4746-5960-4BC6-B2E5-F0DB5FBBF973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7607242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9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A4746-5960-4BC6-B2E5-F0DB5FBBF973}" type="slidenum">
              <a:rPr lang="ru-RU" smtClean="0"/>
              <a:pPr/>
              <a:t>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282785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9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A4746-5960-4BC6-B2E5-F0DB5FBBF973}" type="slidenum">
              <a:rPr lang="ru-RU" smtClean="0"/>
              <a:pPr/>
              <a:t>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180955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sz="900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A4746-5960-4BC6-B2E5-F0DB5FBBF973}" type="slidenum">
              <a:rPr lang="ru-RU" smtClean="0"/>
              <a:pPr/>
              <a:t>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65487066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5DA4746-5960-4BC6-B2E5-F0DB5FBBF973}" type="slidenum">
              <a:rPr lang="ru-RU" smtClean="0"/>
              <a:pPr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264825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2812205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defTabSz="198928"/>
            <a:fld id="{14740AEA-0EEA-41B9-891B-65C9407F9232}" type="datetime1">
              <a:rPr lang="ru-RU" smtClean="0">
                <a:solidFill>
                  <a:prstClr val="black"/>
                </a:solidFill>
              </a:rPr>
              <a:pPr defTabSz="198928"/>
              <a:t>27.03.2023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198928"/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defTabSz="198928"/>
            <a:fld id="{B7788D01-3D9E-4170-AA95-805A8CF2F58D}" type="slidenum">
              <a:rPr lang="ru-RU" smtClean="0">
                <a:solidFill>
                  <a:prstClr val="black"/>
                </a:solidFill>
              </a:rPr>
              <a:pPr defTabSz="198928"/>
              <a:t>‹#›</a:t>
            </a:fld>
            <a:endParaRPr lang="ru-RU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034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" name="Group 15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sp>
          <p:nvSpPr>
            <p:cNvPr id="15" name="Freeform 14"/>
            <p:cNvSpPr/>
            <p:nvPr/>
          </p:nvSpPr>
          <p:spPr>
            <a:xfrm>
              <a:off x="0" y="-7862"/>
              <a:ext cx="863600" cy="5698067"/>
            </a:xfrm>
            <a:custGeom>
              <a:avLst/>
              <a:gdLst/>
              <a:ahLst/>
              <a:cxnLst/>
              <a:rect l="l" t="t" r="r" b="b"/>
              <a:pathLst>
                <a:path w="863600" h="5698067">
                  <a:moveTo>
                    <a:pt x="0" y="8467"/>
                  </a:moveTo>
                  <a:lnTo>
                    <a:pt x="863600" y="0"/>
                  </a:lnTo>
                  <a:lnTo>
                    <a:pt x="863600" y="16934"/>
                  </a:lnTo>
                  <a:lnTo>
                    <a:pt x="0" y="5698067"/>
                  </a:lnTo>
                  <a:lnTo>
                    <a:pt x="0" y="8467"/>
                  </a:lnTo>
                  <a:close/>
                </a:path>
              </a:pathLst>
            </a:cu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cxnSp>
          <p:nvCxnSpPr>
            <p:cNvPr id="19" name="Straight Connector 18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0" name="Straight Connector 19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2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Isosceles Triangle 22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Isosceles Triangle 26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507067" y="2404534"/>
            <a:ext cx="7766936" cy="1646302"/>
          </a:xfrm>
        </p:spPr>
        <p:txBody>
          <a:bodyPr anchor="b">
            <a:noAutofit/>
          </a:bodyPr>
          <a:lstStyle>
            <a:lvl1pPr algn="r">
              <a:defRPr sz="5400">
                <a:solidFill>
                  <a:schemeClr val="accent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07067" y="4050833"/>
            <a:ext cx="7766936" cy="1096899"/>
          </a:xfrm>
        </p:spPr>
        <p:txBody>
          <a:bodyPr anchor="t"/>
          <a:lstStyle>
            <a:lvl1pPr marL="0" indent="0" algn="r">
              <a:buNone/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25364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40213165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2700867"/>
            <a:ext cx="8596668" cy="1826581"/>
          </a:xfrm>
        </p:spPr>
        <p:txBody>
          <a:bodyPr anchor="b"/>
          <a:lstStyle>
            <a:lvl1pPr algn="l">
              <a:defRPr sz="40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860400"/>
          </a:xfrm>
        </p:spPr>
        <p:txBody>
          <a:bodyPr anchor="t"/>
          <a:lstStyle>
            <a:lvl1pPr marL="0" indent="0" algn="l">
              <a:buNone/>
              <a:defRPr sz="20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2589812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7334" y="2160589"/>
            <a:ext cx="4184035" cy="3880772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089970" y="2160589"/>
            <a:ext cx="4184034" cy="3880773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935726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5745" y="2160983"/>
            <a:ext cx="4185623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5745" y="2737245"/>
            <a:ext cx="4185623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88383" y="2160983"/>
            <a:ext cx="4185618" cy="576262"/>
          </a:xfrm>
        </p:spPr>
        <p:txBody>
          <a:bodyPr anchor="b">
            <a:noAutofit/>
          </a:bodyPr>
          <a:lstStyle>
            <a:lvl1pPr marL="0" indent="0">
              <a:buNone/>
              <a:defRPr sz="2400" b="0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88384" y="2737245"/>
            <a:ext cx="4185617" cy="330411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793609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99773867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3240814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1498604"/>
            <a:ext cx="3854528" cy="1278466"/>
          </a:xfrm>
        </p:spPr>
        <p:txBody>
          <a:bodyPr anchor="b">
            <a:normAutofit/>
          </a:bodyPr>
          <a:lstStyle>
            <a:lvl1pPr>
              <a:defRPr sz="200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0461" y="514924"/>
            <a:ext cx="4513541" cy="552643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2777069"/>
            <a:ext cx="3854528" cy="2584449"/>
          </a:xfrm>
        </p:spPr>
        <p:txBody>
          <a:bodyPr>
            <a:normAutofit/>
          </a:bodyPr>
          <a:lstStyle>
            <a:lvl1pPr marL="0" indent="0">
              <a:buNone/>
              <a:defRPr sz="1400"/>
            </a:lvl1pPr>
            <a:lvl2pPr marL="457063" indent="0">
              <a:buNone/>
              <a:defRPr sz="1400"/>
            </a:lvl2pPr>
            <a:lvl3pPr marL="914126" indent="0">
              <a:buNone/>
              <a:defRPr sz="1200"/>
            </a:lvl3pPr>
            <a:lvl4pPr marL="1371189" indent="0">
              <a:buNone/>
              <a:defRPr sz="1000"/>
            </a:lvl4pPr>
            <a:lvl5pPr marL="1828251" indent="0">
              <a:buNone/>
              <a:defRPr sz="1000"/>
            </a:lvl5pPr>
            <a:lvl6pPr marL="2285314" indent="0">
              <a:buNone/>
              <a:defRPr sz="1000"/>
            </a:lvl6pPr>
            <a:lvl7pPr marL="2742377" indent="0">
              <a:buNone/>
              <a:defRPr sz="1000"/>
            </a:lvl7pPr>
            <a:lvl8pPr marL="3199440" indent="0">
              <a:buNone/>
              <a:defRPr sz="1000"/>
            </a:lvl8pPr>
            <a:lvl9pPr marL="3656503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051835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4" y="4800600"/>
            <a:ext cx="8596667" cy="566738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677334" y="609600"/>
            <a:ext cx="8596668" cy="3845718"/>
          </a:xfrm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7334" y="5367338"/>
            <a:ext cx="8596667" cy="674024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48922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435187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609600"/>
            <a:ext cx="8596668" cy="3403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1866899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366139" y="3632200"/>
            <a:ext cx="7224524" cy="381000"/>
          </a:xfrm>
        </p:spPr>
        <p:txBody>
          <a:bodyPr anchor="ctr">
            <a:noAutofit/>
          </a:bodyPr>
          <a:lstStyle>
            <a:lvl1pPr marL="0" indent="0">
              <a:buFontTx/>
              <a:buNone/>
              <a:defRPr sz="16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470400"/>
            <a:ext cx="8596668" cy="1570962"/>
          </a:xfrm>
        </p:spPr>
        <p:txBody>
          <a:bodyPr anchor="ctr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5169614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77335" y="1931988"/>
            <a:ext cx="8596668" cy="2595460"/>
          </a:xfrm>
        </p:spPr>
        <p:txBody>
          <a:bodyPr anchor="b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332512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31334" y="609600"/>
            <a:ext cx="8094134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24" name="TextBox 23"/>
          <p:cNvSpPr txBox="1"/>
          <p:nvPr/>
        </p:nvSpPr>
        <p:spPr>
          <a:xfrm>
            <a:off x="541870" y="790378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“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8893011" y="2886556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lvl="0"/>
            <a:r>
              <a:rPr lang="en-US" sz="8000" baseline="0" dirty="0">
                <a:ln w="3175" cmpd="sng">
                  <a:noFill/>
                </a:ln>
                <a:solidFill>
                  <a:schemeClr val="accent1">
                    <a:lumMod val="60000"/>
                    <a:lumOff val="40000"/>
                  </a:schemeClr>
                </a:solidFill>
                <a:effectLst/>
                <a:latin typeface="Arial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3856071564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5799" y="609600"/>
            <a:ext cx="8588203" cy="3022600"/>
          </a:xfrm>
        </p:spPr>
        <p:txBody>
          <a:bodyPr anchor="ctr">
            <a:normAutofit/>
          </a:bodyPr>
          <a:lstStyle>
            <a:lvl1pPr algn="l">
              <a:defRPr sz="4400" b="0" cap="none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23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77332" y="4013200"/>
            <a:ext cx="8596669" cy="514248"/>
          </a:xfrm>
        </p:spPr>
        <p:txBody>
          <a:bodyPr anchor="b">
            <a:noAutofit/>
          </a:bodyPr>
          <a:lstStyle>
            <a:lvl1pPr marL="0" indent="0">
              <a:buFontTx/>
              <a:buNone/>
              <a:defRPr sz="2400">
                <a:solidFill>
                  <a:schemeClr val="accent1"/>
                </a:solidFill>
              </a:defRPr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5" y="4527448"/>
            <a:ext cx="8596668" cy="1513914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55662195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8576903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967673" y="609599"/>
            <a:ext cx="1304743" cy="5251451"/>
          </a:xfrm>
        </p:spPr>
        <p:txBody>
          <a:bodyPr vert="eaVert" anchor="ctr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77335" y="609600"/>
            <a:ext cx="7060150" cy="5251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4D90236-CB83-4A68-9A67-63A82CFDFF76}" type="datetimeFigureOut">
              <a:rPr lang="ru-RU" smtClean="0"/>
              <a:pPr/>
              <a:t>27.03.2023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7788D01-3D9E-4170-AA95-805A8CF2F58D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9693620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3754757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185306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8771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4351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38091" y="365125"/>
            <a:ext cx="10515818" cy="1325563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8A40F26-C3F3-4144-960E-F566D04693B3}" type="datetime1">
              <a:rPr lang="ru-RU" smtClean="0"/>
              <a:pPr/>
              <a:t>27.03.2023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19B0651-EE4F-4900-A07F-96A6BFA9D0F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03668492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796800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3126634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theme" Target="../theme/theme1.xml"/><Relationship Id="rId7" Type="http://schemas.microsoft.com/office/2007/relationships/hdphoto" Target="../media/hdphoto1.wdp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.png"/><Relationship Id="rId5" Type="http://schemas.openxmlformats.org/officeDocument/2006/relationships/tags" Target="../tags/tag1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1.vml"/><Relationship Id="rId9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3" Type="http://schemas.openxmlformats.org/officeDocument/2006/relationships/theme" Target="../theme/theme2.xml"/><Relationship Id="rId7" Type="http://schemas.microsoft.com/office/2007/relationships/hdphoto" Target="../media/hdphoto1.wdp"/><Relationship Id="rId2" Type="http://schemas.openxmlformats.org/officeDocument/2006/relationships/slideLayout" Target="../slideLayouts/slideLayout4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.png"/><Relationship Id="rId5" Type="http://schemas.openxmlformats.org/officeDocument/2006/relationships/tags" Target="../tags/tag2.xml"/><Relationship Id="rId10" Type="http://schemas.openxmlformats.org/officeDocument/2006/relationships/image" Target="../media/image3.png"/><Relationship Id="rId4" Type="http://schemas.openxmlformats.org/officeDocument/2006/relationships/vmlDrawing" Target="../drawings/vmlDrawing2.vml"/><Relationship Id="rId9" Type="http://schemas.openxmlformats.org/officeDocument/2006/relationships/image" Target="../media/image1.emf"/></Relationships>
</file>

<file path=ppt/slideMasters/_rels/slideMaster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tags" Target="../tags/tag3.xml"/><Relationship Id="rId11" Type="http://schemas.openxmlformats.org/officeDocument/2006/relationships/image" Target="../media/image3.png"/><Relationship Id="rId5" Type="http://schemas.openxmlformats.org/officeDocument/2006/relationships/vmlDrawing" Target="../drawings/vmlDrawing3.vml"/><Relationship Id="rId10" Type="http://schemas.openxmlformats.org/officeDocument/2006/relationships/image" Target="../media/image1.emf"/><Relationship Id="rId4" Type="http://schemas.openxmlformats.org/officeDocument/2006/relationships/theme" Target="../theme/theme3.xml"/><Relationship Id="rId9" Type="http://schemas.openxmlformats.org/officeDocument/2006/relationships/oleObject" Target="../embeddings/oleObject3.bin"/></Relationships>
</file>

<file path=ppt/slideMasters/_rels/slideMaster4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slideLayout" Target="../slideLayouts/slideLayout10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tags" Target="../tags/tag4.xml"/><Relationship Id="rId11" Type="http://schemas.openxmlformats.org/officeDocument/2006/relationships/image" Target="../media/image4.png"/><Relationship Id="rId5" Type="http://schemas.openxmlformats.org/officeDocument/2006/relationships/vmlDrawing" Target="../drawings/vmlDrawing4.vml"/><Relationship Id="rId10" Type="http://schemas.openxmlformats.org/officeDocument/2006/relationships/image" Target="../media/image1.emf"/><Relationship Id="rId4" Type="http://schemas.openxmlformats.org/officeDocument/2006/relationships/theme" Target="../theme/theme4.xml"/><Relationship Id="rId9" Type="http://schemas.openxmlformats.org/officeDocument/2006/relationships/oleObject" Target="../embeddings/oleObject4.bin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slideLayout" Target="../slideLayouts/slideLayout23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17" Type="http://schemas.openxmlformats.org/officeDocument/2006/relationships/theme" Target="../theme/theme5.xml"/><Relationship Id="rId2" Type="http://schemas.openxmlformats.org/officeDocument/2006/relationships/slideLayout" Target="../slideLayouts/slideLayout12.xml"/><Relationship Id="rId16" Type="http://schemas.openxmlformats.org/officeDocument/2006/relationships/slideLayout" Target="../slideLayouts/slideLayout26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slideLayout" Target="../slideLayouts/slideLayout25.xml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2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C3C62C4-A0A7-3547-AE6A-BB2B53A7C7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691" y="691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8" name="think-cell Slide" r:id="rId8" imgW="7761960" imgH="10047960" progId="">
                  <p:embed/>
                </p:oleObj>
              </mc:Choice>
              <mc:Fallback>
                <p:oleObj name="think-cell Slide" r:id="rId8" imgW="7761960" imgH="1004796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1" y="691"/>
                        <a:ext cx="691" cy="6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">
            <a:extLst>
              <a:ext uri="{FF2B5EF4-FFF2-40B4-BE49-F238E27FC236}">
                <a16:creationId xmlns:a16="http://schemas.microsoft.com/office/drawing/2014/main" id="{669D0639-B2B5-A14C-A45F-45249727B9AD}"/>
              </a:ext>
            </a:extLst>
          </p:cNvPr>
          <p:cNvSpPr/>
          <p:nvPr userDrawn="1"/>
        </p:nvSpPr>
        <p:spPr>
          <a:xfrm>
            <a:off x="11501491" y="346954"/>
            <a:ext cx="401767" cy="3616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98928"/>
            <a:fld id="{E18D1482-FAF6-F145-BCBB-844CE6021FA0}" type="slidenum">
              <a:rPr lang="en-US" sz="2350" smtClean="0">
                <a:solidFill>
                  <a:prstClr val="white">
                    <a:lumMod val="65000"/>
                  </a:prstClr>
                </a:solidFill>
                <a:latin typeface="Fira Sans Light" panose="020B0403050000020004" pitchFamily="34" charset="0"/>
                <a:ea typeface="Fira Sans Light" panose="020B04030500000200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98928"/>
              <a:t>‹#›</a:t>
            </a:fld>
            <a:endParaRPr lang="ru-RU" sz="2350" dirty="0">
              <a:solidFill>
                <a:prstClr val="white">
                  <a:lumMod val="65000"/>
                </a:prstClr>
              </a:solidFill>
              <a:latin typeface="Fira Sans Light" panose="020B0403050000020004" pitchFamily="34" charset="0"/>
              <a:ea typeface="Fira Sans Light" panose="020B04030500000200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Прямоугольник 1">
            <a:extLst>
              <a:ext uri="{FF2B5EF4-FFF2-40B4-BE49-F238E27FC236}">
                <a16:creationId xmlns:a16="http://schemas.microsoft.com/office/drawing/2014/main" id="{26D27E56-955F-4144-ABE7-F41AD5AF4F1D}"/>
              </a:ext>
            </a:extLst>
          </p:cNvPr>
          <p:cNvSpPr/>
          <p:nvPr userDrawn="1"/>
        </p:nvSpPr>
        <p:spPr>
          <a:xfrm>
            <a:off x="8839086" y="460788"/>
            <a:ext cx="2420917" cy="133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198928"/>
            <a:r>
              <a:rPr lang="ru-RU" sz="870" dirty="0">
                <a:solidFill>
                  <a:prstClr val="black">
                    <a:lumMod val="50000"/>
                    <a:lumOff val="50000"/>
                  </a:prstClr>
                </a:solidFill>
                <a:latin typeface="Fira Sans" panose="020B0503050000020004" pitchFamily="34" charset="0"/>
                <a:ea typeface="Fira Sans" panose="020B05030500000200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ервая пандемия цифровой эпохи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CA79DC8-F05D-0E4A-8292-E2DA13F716F9}"/>
              </a:ext>
            </a:extLst>
          </p:cNvPr>
          <p:cNvCxnSpPr>
            <a:cxnSpLocks/>
          </p:cNvCxnSpPr>
          <p:nvPr userDrawn="1"/>
        </p:nvCxnSpPr>
        <p:spPr>
          <a:xfrm>
            <a:off x="11380747" y="393827"/>
            <a:ext cx="0" cy="267847"/>
          </a:xfrm>
          <a:prstGeom prst="line">
            <a:avLst/>
          </a:prstGeom>
          <a:ln>
            <a:solidFill>
              <a:srgbClr val="005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56C690C-EBD7-7C44-8E1B-34FE8E350CF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695" y="250520"/>
            <a:ext cx="2103074" cy="60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7506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</p:sldLayoutIdLst>
  <p:txStyles>
    <p:titleStyle>
      <a:lvl1pPr algn="l" defTabSz="397855" rtl="0" eaLnBrk="1" latinLnBrk="0" hangingPunct="1">
        <a:lnSpc>
          <a:spcPct val="90000"/>
        </a:lnSpc>
        <a:spcBef>
          <a:spcPct val="0"/>
        </a:spcBef>
        <a:buNone/>
        <a:defRPr sz="19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9464" indent="-99464" algn="l" defTabSz="397855" rtl="0" eaLnBrk="1" latinLnBrk="0" hangingPunct="1">
        <a:lnSpc>
          <a:spcPct val="90000"/>
        </a:lnSpc>
        <a:spcBef>
          <a:spcPts val="435"/>
        </a:spcBef>
        <a:buFont typeface="Arial" panose="020B0604020202020204" pitchFamily="34" charset="0"/>
        <a:buChar char="•"/>
        <a:defRPr sz="1218" kern="1200">
          <a:solidFill>
            <a:schemeClr val="tx1"/>
          </a:solidFill>
          <a:latin typeface="+mn-lt"/>
          <a:ea typeface="+mn-ea"/>
          <a:cs typeface="+mn-cs"/>
        </a:defRPr>
      </a:lvl1pPr>
      <a:lvl2pPr marL="298392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1044" kern="1200">
          <a:solidFill>
            <a:schemeClr val="tx1"/>
          </a:solidFill>
          <a:latin typeface="+mn-lt"/>
          <a:ea typeface="+mn-ea"/>
          <a:cs typeface="+mn-cs"/>
        </a:defRPr>
      </a:lvl2pPr>
      <a:lvl3pPr marL="497319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870" kern="1200">
          <a:solidFill>
            <a:schemeClr val="tx1"/>
          </a:solidFill>
          <a:latin typeface="+mn-lt"/>
          <a:ea typeface="+mn-ea"/>
          <a:cs typeface="+mn-cs"/>
        </a:defRPr>
      </a:lvl3pPr>
      <a:lvl4pPr marL="696247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4pPr>
      <a:lvl5pPr marL="895175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5pPr>
      <a:lvl6pPr marL="1094102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6pPr>
      <a:lvl7pPr marL="1293030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7pPr>
      <a:lvl8pPr marL="1491958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8pPr>
      <a:lvl9pPr marL="1690886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1pPr>
      <a:lvl2pPr marL="198928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2pPr>
      <a:lvl3pPr marL="397855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3pPr>
      <a:lvl4pPr marL="596783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4pPr>
      <a:lvl5pPr marL="795711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5pPr>
      <a:lvl6pPr marL="994639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6pPr>
      <a:lvl7pPr marL="1193566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7pPr>
      <a:lvl8pPr marL="1392494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8pPr>
      <a:lvl9pPr marL="1591422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>
          <a:blip r:embed="rId6" cstate="print"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C3C62C4-A0A7-3547-AE6A-BB2B53A7C7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/>
          </p:nvPr>
        </p:nvGraphicFramePr>
        <p:xfrm>
          <a:off x="691" y="691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32" name="think-cell Slide" r:id="rId8" imgW="7761960" imgH="10047960" progId="">
                  <p:embed/>
                </p:oleObj>
              </mc:Choice>
              <mc:Fallback>
                <p:oleObj name="think-cell Slide" r:id="rId8" imgW="7761960" imgH="10047960" progId="">
                  <p:embed/>
                  <p:pic>
                    <p:nvPicPr>
                      <p:cNvPr id="0" name="Picture 8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9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1" y="691"/>
                        <a:ext cx="691" cy="6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">
            <a:extLst>
              <a:ext uri="{FF2B5EF4-FFF2-40B4-BE49-F238E27FC236}">
                <a16:creationId xmlns:a16="http://schemas.microsoft.com/office/drawing/2014/main" id="{669D0639-B2B5-A14C-A45F-45249727B9AD}"/>
              </a:ext>
            </a:extLst>
          </p:cNvPr>
          <p:cNvSpPr/>
          <p:nvPr userDrawn="1"/>
        </p:nvSpPr>
        <p:spPr>
          <a:xfrm>
            <a:off x="11501491" y="346954"/>
            <a:ext cx="401767" cy="3616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98928"/>
            <a:fld id="{E18D1482-FAF6-F145-BCBB-844CE6021FA0}" type="slidenum">
              <a:rPr lang="en-US" sz="2350" smtClean="0">
                <a:solidFill>
                  <a:prstClr val="white">
                    <a:lumMod val="65000"/>
                  </a:prstClr>
                </a:solidFill>
                <a:latin typeface="Fira Sans Light" panose="020B0403050000020004" pitchFamily="34" charset="0"/>
                <a:ea typeface="Fira Sans Light" panose="020B04030500000200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98928"/>
              <a:t>‹#›</a:t>
            </a:fld>
            <a:endParaRPr lang="ru-RU" sz="2350" dirty="0">
              <a:solidFill>
                <a:prstClr val="white">
                  <a:lumMod val="65000"/>
                </a:prstClr>
              </a:solidFill>
              <a:latin typeface="Fira Sans Light" panose="020B0403050000020004" pitchFamily="34" charset="0"/>
              <a:ea typeface="Fira Sans Light" panose="020B04030500000200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Прямоугольник 1">
            <a:extLst>
              <a:ext uri="{FF2B5EF4-FFF2-40B4-BE49-F238E27FC236}">
                <a16:creationId xmlns:a16="http://schemas.microsoft.com/office/drawing/2014/main" id="{26D27E56-955F-4144-ABE7-F41AD5AF4F1D}"/>
              </a:ext>
            </a:extLst>
          </p:cNvPr>
          <p:cNvSpPr/>
          <p:nvPr userDrawn="1"/>
        </p:nvSpPr>
        <p:spPr>
          <a:xfrm>
            <a:off x="8839086" y="460788"/>
            <a:ext cx="2420917" cy="133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198928"/>
            <a:r>
              <a:rPr lang="ru-RU" sz="870" dirty="0">
                <a:solidFill>
                  <a:prstClr val="black">
                    <a:lumMod val="50000"/>
                    <a:lumOff val="50000"/>
                  </a:prstClr>
                </a:solidFill>
                <a:latin typeface="Fira Sans" panose="020B0503050000020004" pitchFamily="34" charset="0"/>
                <a:ea typeface="Fira Sans" panose="020B05030500000200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ервая пандемия цифровой эпохи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CA79DC8-F05D-0E4A-8292-E2DA13F716F9}"/>
              </a:ext>
            </a:extLst>
          </p:cNvPr>
          <p:cNvCxnSpPr>
            <a:cxnSpLocks/>
          </p:cNvCxnSpPr>
          <p:nvPr userDrawn="1"/>
        </p:nvCxnSpPr>
        <p:spPr>
          <a:xfrm>
            <a:off x="11380747" y="393827"/>
            <a:ext cx="0" cy="267847"/>
          </a:xfrm>
          <a:prstGeom prst="line">
            <a:avLst/>
          </a:prstGeom>
          <a:ln>
            <a:solidFill>
              <a:srgbClr val="005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56C690C-EBD7-7C44-8E1B-34FE8E350CF4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695" y="250520"/>
            <a:ext cx="2103074" cy="60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47669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7" r:id="rId2"/>
  </p:sldLayoutIdLst>
  <p:txStyles>
    <p:titleStyle>
      <a:lvl1pPr algn="l" defTabSz="397855" rtl="0" eaLnBrk="1" latinLnBrk="0" hangingPunct="1">
        <a:lnSpc>
          <a:spcPct val="90000"/>
        </a:lnSpc>
        <a:spcBef>
          <a:spcPct val="0"/>
        </a:spcBef>
        <a:buNone/>
        <a:defRPr sz="19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9464" indent="-99464" algn="l" defTabSz="397855" rtl="0" eaLnBrk="1" latinLnBrk="0" hangingPunct="1">
        <a:lnSpc>
          <a:spcPct val="90000"/>
        </a:lnSpc>
        <a:spcBef>
          <a:spcPts val="435"/>
        </a:spcBef>
        <a:buFont typeface="Arial" panose="020B0604020202020204" pitchFamily="34" charset="0"/>
        <a:buChar char="•"/>
        <a:defRPr sz="1218" kern="1200">
          <a:solidFill>
            <a:schemeClr val="tx1"/>
          </a:solidFill>
          <a:latin typeface="+mn-lt"/>
          <a:ea typeface="+mn-ea"/>
          <a:cs typeface="+mn-cs"/>
        </a:defRPr>
      </a:lvl1pPr>
      <a:lvl2pPr marL="298392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1044" kern="1200">
          <a:solidFill>
            <a:schemeClr val="tx1"/>
          </a:solidFill>
          <a:latin typeface="+mn-lt"/>
          <a:ea typeface="+mn-ea"/>
          <a:cs typeface="+mn-cs"/>
        </a:defRPr>
      </a:lvl2pPr>
      <a:lvl3pPr marL="497319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870" kern="1200">
          <a:solidFill>
            <a:schemeClr val="tx1"/>
          </a:solidFill>
          <a:latin typeface="+mn-lt"/>
          <a:ea typeface="+mn-ea"/>
          <a:cs typeface="+mn-cs"/>
        </a:defRPr>
      </a:lvl3pPr>
      <a:lvl4pPr marL="696247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4pPr>
      <a:lvl5pPr marL="895175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5pPr>
      <a:lvl6pPr marL="1094102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6pPr>
      <a:lvl7pPr marL="1293030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7pPr>
      <a:lvl8pPr marL="1491958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8pPr>
      <a:lvl9pPr marL="1690886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1pPr>
      <a:lvl2pPr marL="198928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2pPr>
      <a:lvl3pPr marL="397855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3pPr>
      <a:lvl4pPr marL="596783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4pPr>
      <a:lvl5pPr marL="795711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5pPr>
      <a:lvl6pPr marL="994639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6pPr>
      <a:lvl7pPr marL="1193566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7pPr>
      <a:lvl8pPr marL="1392494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8pPr>
      <a:lvl9pPr marL="1591422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C3C62C4-A0A7-3547-AE6A-BB2B53A7C7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691" y="691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58" name="think-cell Slide" r:id="rId9" imgW="7761960" imgH="10047960" progId="">
                  <p:embed/>
                </p:oleObj>
              </mc:Choice>
              <mc:Fallback>
                <p:oleObj name="think-cell Slide" r:id="rId9" imgW="7761960" imgH="10047960" progId="">
                  <p:embed/>
                  <p:pic>
                    <p:nvPicPr>
                      <p:cNvPr id="0" name="Picture 8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1" y="691"/>
                        <a:ext cx="691" cy="6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">
            <a:extLst>
              <a:ext uri="{FF2B5EF4-FFF2-40B4-BE49-F238E27FC236}">
                <a16:creationId xmlns:a16="http://schemas.microsoft.com/office/drawing/2014/main" id="{669D0639-B2B5-A14C-A45F-45249727B9AD}"/>
              </a:ext>
            </a:extLst>
          </p:cNvPr>
          <p:cNvSpPr/>
          <p:nvPr userDrawn="1"/>
        </p:nvSpPr>
        <p:spPr>
          <a:xfrm>
            <a:off x="11501491" y="346954"/>
            <a:ext cx="401767" cy="3616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98928"/>
            <a:fld id="{E18D1482-FAF6-F145-BCBB-844CE6021FA0}" type="slidenum">
              <a:rPr lang="en-US" sz="2350" smtClean="0">
                <a:solidFill>
                  <a:prstClr val="white">
                    <a:lumMod val="65000"/>
                  </a:prstClr>
                </a:solidFill>
                <a:latin typeface="Fira Sans Light" panose="020B0403050000020004" pitchFamily="34" charset="0"/>
                <a:ea typeface="Fira Sans Light" panose="020B04030500000200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98928"/>
              <a:t>‹#›</a:t>
            </a:fld>
            <a:endParaRPr lang="ru-RU" sz="2350" dirty="0">
              <a:solidFill>
                <a:prstClr val="white">
                  <a:lumMod val="65000"/>
                </a:prstClr>
              </a:solidFill>
              <a:latin typeface="Fira Sans Light" panose="020B0403050000020004" pitchFamily="34" charset="0"/>
              <a:ea typeface="Fira Sans Light" panose="020B04030500000200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Прямоугольник 1">
            <a:extLst>
              <a:ext uri="{FF2B5EF4-FFF2-40B4-BE49-F238E27FC236}">
                <a16:creationId xmlns:a16="http://schemas.microsoft.com/office/drawing/2014/main" id="{26D27E56-955F-4144-ABE7-F41AD5AF4F1D}"/>
              </a:ext>
            </a:extLst>
          </p:cNvPr>
          <p:cNvSpPr/>
          <p:nvPr userDrawn="1"/>
        </p:nvSpPr>
        <p:spPr>
          <a:xfrm>
            <a:off x="8839086" y="460788"/>
            <a:ext cx="2420917" cy="133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198928"/>
            <a:r>
              <a:rPr lang="ru-RU" sz="870" dirty="0">
                <a:solidFill>
                  <a:prstClr val="black">
                    <a:lumMod val="50000"/>
                    <a:lumOff val="50000"/>
                  </a:prstClr>
                </a:solidFill>
                <a:latin typeface="Fira Sans" panose="020B0503050000020004" pitchFamily="34" charset="0"/>
                <a:ea typeface="Fira Sans" panose="020B0503050000020004" pitchFamily="34" charset="0"/>
                <a:cs typeface="Arial" panose="020B0604020202020204" pitchFamily="34" charset="0"/>
                <a:sym typeface="Arial" panose="020B0604020202020204" pitchFamily="34" charset="0"/>
              </a:rPr>
              <a:t>Первая пандемия цифровой эпохи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CA79DC8-F05D-0E4A-8292-E2DA13F716F9}"/>
              </a:ext>
            </a:extLst>
          </p:cNvPr>
          <p:cNvCxnSpPr>
            <a:cxnSpLocks/>
          </p:cNvCxnSpPr>
          <p:nvPr userDrawn="1"/>
        </p:nvCxnSpPr>
        <p:spPr>
          <a:xfrm>
            <a:off x="11380747" y="393827"/>
            <a:ext cx="0" cy="267847"/>
          </a:xfrm>
          <a:prstGeom prst="line">
            <a:avLst/>
          </a:prstGeom>
          <a:ln>
            <a:solidFill>
              <a:srgbClr val="005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56C690C-EBD7-7C44-8E1B-34FE8E350CF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695" y="250520"/>
            <a:ext cx="2103074" cy="60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718568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9" r:id="rId1"/>
    <p:sldLayoutId id="2147483670" r:id="rId2"/>
    <p:sldLayoutId id="2147483679" r:id="rId3"/>
  </p:sldLayoutIdLst>
  <p:txStyles>
    <p:titleStyle>
      <a:lvl1pPr algn="l" defTabSz="397855" rtl="0" eaLnBrk="1" latinLnBrk="0" hangingPunct="1">
        <a:lnSpc>
          <a:spcPct val="90000"/>
        </a:lnSpc>
        <a:spcBef>
          <a:spcPct val="0"/>
        </a:spcBef>
        <a:buNone/>
        <a:defRPr sz="19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9464" indent="-99464" algn="l" defTabSz="397855" rtl="0" eaLnBrk="1" latinLnBrk="0" hangingPunct="1">
        <a:lnSpc>
          <a:spcPct val="90000"/>
        </a:lnSpc>
        <a:spcBef>
          <a:spcPts val="435"/>
        </a:spcBef>
        <a:buFont typeface="Arial" panose="020B0604020202020204" pitchFamily="34" charset="0"/>
        <a:buChar char="•"/>
        <a:defRPr sz="1218" kern="1200">
          <a:solidFill>
            <a:schemeClr val="tx1"/>
          </a:solidFill>
          <a:latin typeface="+mn-lt"/>
          <a:ea typeface="+mn-ea"/>
          <a:cs typeface="+mn-cs"/>
        </a:defRPr>
      </a:lvl1pPr>
      <a:lvl2pPr marL="298392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1044" kern="1200">
          <a:solidFill>
            <a:schemeClr val="tx1"/>
          </a:solidFill>
          <a:latin typeface="+mn-lt"/>
          <a:ea typeface="+mn-ea"/>
          <a:cs typeface="+mn-cs"/>
        </a:defRPr>
      </a:lvl2pPr>
      <a:lvl3pPr marL="497319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870" kern="1200">
          <a:solidFill>
            <a:schemeClr val="tx1"/>
          </a:solidFill>
          <a:latin typeface="+mn-lt"/>
          <a:ea typeface="+mn-ea"/>
          <a:cs typeface="+mn-cs"/>
        </a:defRPr>
      </a:lvl3pPr>
      <a:lvl4pPr marL="696247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4pPr>
      <a:lvl5pPr marL="895175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5pPr>
      <a:lvl6pPr marL="1094102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6pPr>
      <a:lvl7pPr marL="1293030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7pPr>
      <a:lvl8pPr marL="1491958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8pPr>
      <a:lvl9pPr marL="1690886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1pPr>
      <a:lvl2pPr marL="198928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2pPr>
      <a:lvl3pPr marL="397855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3pPr>
      <a:lvl4pPr marL="596783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4pPr>
      <a:lvl5pPr marL="795711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5pPr>
      <a:lvl6pPr marL="994639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6pPr>
      <a:lvl7pPr marL="1193566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7pPr>
      <a:lvl8pPr marL="1392494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8pPr>
      <a:lvl9pPr marL="1591422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>
          <a:blip r:embed="rId7" cstate="print">
            <a:extLst>
              <a:ext uri="{BEBA8EAE-BF5A-486C-A8C5-ECC9F3942E4B}">
                <a14:imgProps xmlns:a14="http://schemas.microsoft.com/office/drawing/2010/main">
                  <a14:imgLayer r:embed="rId8">
                    <a14:imgEffect>
                      <a14:colorTemperature colorTemp="1500"/>
                    </a14:imgEffect>
                    <a14:imgEffect>
                      <a14:saturation sat="0"/>
                    </a14:imgEffect>
                  </a14:imgLayer>
                </a14:imgProps>
              </a:ext>
            </a:extLst>
          </a:blip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C3C62C4-A0A7-3547-AE6A-BB2B53A7C7D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/>
          </p:nvPr>
        </p:nvGraphicFramePr>
        <p:xfrm>
          <a:off x="691" y="691"/>
          <a:ext cx="691" cy="6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02" name="think-cell Slide" r:id="rId9" imgW="7761960" imgH="10047960" progId="">
                  <p:embed/>
                </p:oleObj>
              </mc:Choice>
              <mc:Fallback>
                <p:oleObj name="think-cell Slide" r:id="rId9" imgW="7761960" imgH="10047960" progId="">
                  <p:embed/>
                  <p:pic>
                    <p:nvPicPr>
                      <p:cNvPr id="0" name="Picture 8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0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91" y="691"/>
                        <a:ext cx="691" cy="691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1">
            <a:extLst>
              <a:ext uri="{FF2B5EF4-FFF2-40B4-BE49-F238E27FC236}">
                <a16:creationId xmlns:a16="http://schemas.microsoft.com/office/drawing/2014/main" id="{669D0639-B2B5-A14C-A45F-45249727B9AD}"/>
              </a:ext>
            </a:extLst>
          </p:cNvPr>
          <p:cNvSpPr/>
          <p:nvPr userDrawn="1"/>
        </p:nvSpPr>
        <p:spPr>
          <a:xfrm>
            <a:off x="11501491" y="346954"/>
            <a:ext cx="401767" cy="36163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defTabSz="198928"/>
            <a:fld id="{E18D1482-FAF6-F145-BCBB-844CE6021FA0}" type="slidenum">
              <a:rPr lang="en-US" sz="2350" smtClean="0">
                <a:solidFill>
                  <a:prstClr val="white">
                    <a:lumMod val="65000"/>
                  </a:prstClr>
                </a:solidFill>
                <a:latin typeface="Fira Sans Light" panose="020B0403050000020004" pitchFamily="34" charset="0"/>
                <a:ea typeface="Fira Sans Light" panose="020B0403050000020004" pitchFamily="34" charset="0"/>
                <a:cs typeface="Arial" panose="020B0604020202020204" pitchFamily="34" charset="0"/>
                <a:sym typeface="Arial" panose="020B0604020202020204" pitchFamily="34" charset="0"/>
              </a:rPr>
              <a:pPr defTabSz="198928"/>
              <a:t>‹#›</a:t>
            </a:fld>
            <a:endParaRPr lang="ru-RU" sz="2350" dirty="0">
              <a:solidFill>
                <a:prstClr val="white">
                  <a:lumMod val="65000"/>
                </a:prstClr>
              </a:solidFill>
              <a:latin typeface="Fira Sans Light" panose="020B0403050000020004" pitchFamily="34" charset="0"/>
              <a:ea typeface="Fira Sans Light" panose="020B0403050000020004" pitchFamily="34" charset="0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4" name="Прямоугольник 1">
            <a:extLst>
              <a:ext uri="{FF2B5EF4-FFF2-40B4-BE49-F238E27FC236}">
                <a16:creationId xmlns:a16="http://schemas.microsoft.com/office/drawing/2014/main" id="{26D27E56-955F-4144-ABE7-F41AD5AF4F1D}"/>
              </a:ext>
            </a:extLst>
          </p:cNvPr>
          <p:cNvSpPr/>
          <p:nvPr userDrawn="1"/>
        </p:nvSpPr>
        <p:spPr>
          <a:xfrm>
            <a:off x="8839086" y="460788"/>
            <a:ext cx="2420917" cy="13388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 algn="r" defTabSz="198928"/>
            <a:r>
              <a:rPr lang="ru-RU" sz="870" dirty="0">
                <a:solidFill>
                  <a:prstClr val="black">
                    <a:lumMod val="50000"/>
                    <a:lumOff val="50000"/>
                  </a:prstClr>
                </a:solidFill>
                <a:latin typeface="Fira Sans" panose="020B0503050000020004" pitchFamily="34" charset="0"/>
                <a:ea typeface="Fira Sans" panose="020B0503050000020004" pitchFamily="34" charset="0"/>
                <a:cs typeface="Arial" panose="020B0604020202020204" pitchFamily="34" charset="0"/>
                <a:sym typeface="Arial" panose="020B0604020202020204" pitchFamily="34" charset="0"/>
              </a:rPr>
              <a:t>ФМО 2020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0CA79DC8-F05D-0E4A-8292-E2DA13F716F9}"/>
              </a:ext>
            </a:extLst>
          </p:cNvPr>
          <p:cNvCxnSpPr>
            <a:cxnSpLocks/>
          </p:cNvCxnSpPr>
          <p:nvPr userDrawn="1"/>
        </p:nvCxnSpPr>
        <p:spPr>
          <a:xfrm>
            <a:off x="11380747" y="393827"/>
            <a:ext cx="0" cy="267847"/>
          </a:xfrm>
          <a:prstGeom prst="line">
            <a:avLst/>
          </a:prstGeom>
          <a:ln>
            <a:solidFill>
              <a:srgbClr val="0050F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656C690C-EBD7-7C44-8E1B-34FE8E350CF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695" y="250520"/>
            <a:ext cx="2103074" cy="6085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89905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7" r:id="rId3"/>
  </p:sldLayoutIdLst>
  <p:txStyles>
    <p:titleStyle>
      <a:lvl1pPr algn="l" defTabSz="397855" rtl="0" eaLnBrk="1" latinLnBrk="0" hangingPunct="1">
        <a:lnSpc>
          <a:spcPct val="90000"/>
        </a:lnSpc>
        <a:spcBef>
          <a:spcPct val="0"/>
        </a:spcBef>
        <a:buNone/>
        <a:defRPr sz="191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99464" indent="-99464" algn="l" defTabSz="397855" rtl="0" eaLnBrk="1" latinLnBrk="0" hangingPunct="1">
        <a:lnSpc>
          <a:spcPct val="90000"/>
        </a:lnSpc>
        <a:spcBef>
          <a:spcPts val="435"/>
        </a:spcBef>
        <a:buFont typeface="Arial" panose="020B0604020202020204" pitchFamily="34" charset="0"/>
        <a:buChar char="•"/>
        <a:defRPr sz="1218" kern="1200">
          <a:solidFill>
            <a:schemeClr val="tx1"/>
          </a:solidFill>
          <a:latin typeface="+mn-lt"/>
          <a:ea typeface="+mn-ea"/>
          <a:cs typeface="+mn-cs"/>
        </a:defRPr>
      </a:lvl1pPr>
      <a:lvl2pPr marL="298392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1044" kern="1200">
          <a:solidFill>
            <a:schemeClr val="tx1"/>
          </a:solidFill>
          <a:latin typeface="+mn-lt"/>
          <a:ea typeface="+mn-ea"/>
          <a:cs typeface="+mn-cs"/>
        </a:defRPr>
      </a:lvl2pPr>
      <a:lvl3pPr marL="497319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870" kern="1200">
          <a:solidFill>
            <a:schemeClr val="tx1"/>
          </a:solidFill>
          <a:latin typeface="+mn-lt"/>
          <a:ea typeface="+mn-ea"/>
          <a:cs typeface="+mn-cs"/>
        </a:defRPr>
      </a:lvl3pPr>
      <a:lvl4pPr marL="696247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4pPr>
      <a:lvl5pPr marL="895175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5pPr>
      <a:lvl6pPr marL="1094102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6pPr>
      <a:lvl7pPr marL="1293030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7pPr>
      <a:lvl8pPr marL="1491958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8pPr>
      <a:lvl9pPr marL="1690886" indent="-99464" algn="l" defTabSz="397855" rtl="0" eaLnBrk="1" latinLnBrk="0" hangingPunct="1">
        <a:lnSpc>
          <a:spcPct val="90000"/>
        </a:lnSpc>
        <a:spcBef>
          <a:spcPts val="218"/>
        </a:spcBef>
        <a:buFont typeface="Arial" panose="020B0604020202020204" pitchFamily="34" charset="0"/>
        <a:buChar char="•"/>
        <a:defRPr sz="78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1pPr>
      <a:lvl2pPr marL="198928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2pPr>
      <a:lvl3pPr marL="397855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3pPr>
      <a:lvl4pPr marL="596783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4pPr>
      <a:lvl5pPr marL="795711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5pPr>
      <a:lvl6pPr marL="994639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6pPr>
      <a:lvl7pPr marL="1193566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7pPr>
      <a:lvl8pPr marL="1392494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8pPr>
      <a:lvl9pPr marL="1591422" algn="l" defTabSz="397855" rtl="0" eaLnBrk="1" latinLnBrk="0" hangingPunct="1">
        <a:defRPr sz="78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4" name="Group 43"/>
          <p:cNvGrpSpPr/>
          <p:nvPr/>
        </p:nvGrpSpPr>
        <p:grpSpPr>
          <a:xfrm>
            <a:off x="0" y="-8467"/>
            <a:ext cx="12192000" cy="6866467"/>
            <a:chOff x="0" y="-8467"/>
            <a:chExt cx="12192000" cy="6866467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9371012" y="0"/>
              <a:ext cx="1219200" cy="6858000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Straight Connector 20"/>
            <p:cNvCxnSpPr/>
            <p:nvPr/>
          </p:nvCxnSpPr>
          <p:spPr>
            <a:xfrm flipH="1">
              <a:off x="7425267" y="3681413"/>
              <a:ext cx="4763558" cy="3176587"/>
            </a:xfrm>
            <a:prstGeom prst="line">
              <a:avLst/>
            </a:prstGeom>
            <a:ln w="9525">
              <a:solidFill>
                <a:schemeClr val="accent1">
                  <a:alpha val="70000"/>
                </a:schemeClr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sp>
          <p:nvSpPr>
            <p:cNvPr id="22" name="Rectangle 23"/>
            <p:cNvSpPr/>
            <p:nvPr/>
          </p:nvSpPr>
          <p:spPr>
            <a:xfrm>
              <a:off x="9181476" y="-8467"/>
              <a:ext cx="3007349" cy="6866467"/>
            </a:xfrm>
            <a:custGeom>
              <a:avLst/>
              <a:gdLst/>
              <a:ahLst/>
              <a:cxnLst/>
              <a:rect l="l" t="t" r="r" b="b"/>
              <a:pathLst>
                <a:path w="3007349" h="6866467">
                  <a:moveTo>
                    <a:pt x="2045532" y="0"/>
                  </a:moveTo>
                  <a:lnTo>
                    <a:pt x="3007349" y="0"/>
                  </a:lnTo>
                  <a:lnTo>
                    <a:pt x="3007349" y="6866467"/>
                  </a:lnTo>
                  <a:lnTo>
                    <a:pt x="0" y="6866467"/>
                  </a:lnTo>
                  <a:lnTo>
                    <a:pt x="2045532" y="0"/>
                  </a:lnTo>
                  <a:close/>
                </a:path>
              </a:pathLst>
            </a:custGeom>
            <a:solidFill>
              <a:schemeClr val="accent1">
                <a:alpha val="3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3" name="Rectangle 25"/>
            <p:cNvSpPr/>
            <p:nvPr/>
          </p:nvSpPr>
          <p:spPr>
            <a:xfrm>
              <a:off x="9603442" y="-8467"/>
              <a:ext cx="2588558" cy="6866467"/>
            </a:xfrm>
            <a:custGeom>
              <a:avLst/>
              <a:gdLst/>
              <a:ahLst/>
              <a:cxnLst/>
              <a:rect l="l" t="t" r="r" b="b"/>
              <a:pathLst>
                <a:path w="2573311" h="6866467">
                  <a:moveTo>
                    <a:pt x="0" y="0"/>
                  </a:moveTo>
                  <a:lnTo>
                    <a:pt x="2573311" y="0"/>
                  </a:lnTo>
                  <a:lnTo>
                    <a:pt x="2573311" y="6866467"/>
                  </a:lnTo>
                  <a:lnTo>
                    <a:pt x="1202336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alpha val="2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4" name="Isosceles Triangle 23"/>
            <p:cNvSpPr/>
            <p:nvPr/>
          </p:nvSpPr>
          <p:spPr>
            <a:xfrm>
              <a:off x="8932333" y="3048000"/>
              <a:ext cx="3259667" cy="3810000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5" name="Rectangle 27"/>
            <p:cNvSpPr/>
            <p:nvPr/>
          </p:nvSpPr>
          <p:spPr>
            <a:xfrm>
              <a:off x="9334500" y="-8467"/>
              <a:ext cx="2854326" cy="6866467"/>
            </a:xfrm>
            <a:custGeom>
              <a:avLst/>
              <a:gdLst/>
              <a:ahLst/>
              <a:cxnLst/>
              <a:rect l="l" t="t" r="r" b="b"/>
              <a:pathLst>
                <a:path w="2858013" h="6866467">
                  <a:moveTo>
                    <a:pt x="0" y="0"/>
                  </a:moveTo>
                  <a:lnTo>
                    <a:pt x="2858013" y="0"/>
                  </a:lnTo>
                  <a:lnTo>
                    <a:pt x="2858013" y="6866467"/>
                  </a:lnTo>
                  <a:lnTo>
                    <a:pt x="2473942" y="6866467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1">
                <a:lumMod val="75000"/>
                <a:alpha val="5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6" name="Rectangle 28"/>
            <p:cNvSpPr/>
            <p:nvPr/>
          </p:nvSpPr>
          <p:spPr>
            <a:xfrm>
              <a:off x="10898730" y="-8467"/>
              <a:ext cx="1290094" cy="6866467"/>
            </a:xfrm>
            <a:custGeom>
              <a:avLst/>
              <a:gdLst/>
              <a:ahLst/>
              <a:cxnLst/>
              <a:rect l="l" t="t" r="r" b="b"/>
              <a:pathLst>
                <a:path w="1290094" h="6858000">
                  <a:moveTo>
                    <a:pt x="1019735" y="0"/>
                  </a:moveTo>
                  <a:lnTo>
                    <a:pt x="1290094" y="0"/>
                  </a:lnTo>
                  <a:lnTo>
                    <a:pt x="1290094" y="6858000"/>
                  </a:lnTo>
                  <a:lnTo>
                    <a:pt x="0" y="6858000"/>
                  </a:lnTo>
                  <a:lnTo>
                    <a:pt x="1019735" y="0"/>
                  </a:lnTo>
                  <a:close/>
                </a:path>
              </a:pathLst>
            </a:custGeom>
            <a:solidFill>
              <a:schemeClr val="accent2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7" name="Rectangle 29"/>
            <p:cNvSpPr/>
            <p:nvPr/>
          </p:nvSpPr>
          <p:spPr>
            <a:xfrm>
              <a:off x="10938999" y="-8467"/>
              <a:ext cx="1249825" cy="6866467"/>
            </a:xfrm>
            <a:custGeom>
              <a:avLst/>
              <a:gdLst/>
              <a:ahLst/>
              <a:cxnLst/>
              <a:rect l="l" t="t" r="r" b="b"/>
              <a:pathLst>
                <a:path w="1249825" h="6858000">
                  <a:moveTo>
                    <a:pt x="0" y="0"/>
                  </a:moveTo>
                  <a:lnTo>
                    <a:pt x="1249825" y="0"/>
                  </a:lnTo>
                  <a:lnTo>
                    <a:pt x="1249825" y="6858000"/>
                  </a:lnTo>
                  <a:lnTo>
                    <a:pt x="1109382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>
                <a:lumMod val="75000"/>
                <a:alpha val="8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28" name="Isosceles Triangle 27"/>
            <p:cNvSpPr/>
            <p:nvPr/>
          </p:nvSpPr>
          <p:spPr>
            <a:xfrm>
              <a:off x="10371666" y="3589867"/>
              <a:ext cx="1817159" cy="3268133"/>
            </a:xfrm>
            <a:prstGeom prst="triangle">
              <a:avLst>
                <a:gd name="adj" fmla="val 100000"/>
              </a:avLst>
            </a:prstGeom>
            <a:solidFill>
              <a:schemeClr val="accent1">
                <a:lumMod val="75000"/>
                <a:alpha val="66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  <p:sp>
          <p:nvSpPr>
            <p:cNvPr id="19" name="Isosceles Triangle 18"/>
            <p:cNvSpPr/>
            <p:nvPr/>
          </p:nvSpPr>
          <p:spPr>
            <a:xfrm>
              <a:off x="0" y="4013200"/>
              <a:ext cx="448733" cy="2844800"/>
            </a:xfrm>
            <a:prstGeom prst="triangle">
              <a:avLst>
                <a:gd name="adj" fmla="val 0"/>
              </a:avLst>
            </a:prstGeom>
            <a:solidFill>
              <a:schemeClr val="accent1">
                <a:alpha val="70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</p: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77334" y="609600"/>
            <a:ext cx="8596668" cy="132080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7334" y="2160589"/>
            <a:ext cx="8596668" cy="388077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205133" y="6041362"/>
            <a:ext cx="9119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3/2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77334" y="6041362"/>
            <a:ext cx="629761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590663" y="6041362"/>
            <a:ext cx="68333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accent1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419970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accent1"/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SzPct val="80000"/>
        <a:buFont typeface="Wingdings 3" charset="2"/>
        <a:buChar char="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12.xml"/><Relationship Id="rId4" Type="http://schemas.openxmlformats.org/officeDocument/2006/relationships/image" Target="../media/image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0" y="1694931"/>
            <a:ext cx="12192000" cy="2387600"/>
          </a:xfrm>
        </p:spPr>
        <p:txBody>
          <a:bodyPr>
            <a:normAutofit/>
          </a:bodyPr>
          <a:lstStyle/>
          <a:p>
            <a:pPr algn="ctr"/>
            <a:r>
              <a:rPr lang="ru-RU" sz="4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О вопросах ликвидации дефицита на рынке лекарственных средств и медицинских изделий Иркутской области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580562" y="5194570"/>
            <a:ext cx="9144000" cy="809358"/>
          </a:xfrm>
        </p:spPr>
        <p:txBody>
          <a:bodyPr/>
          <a:lstStyle/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сполняющий обязанности министра здравоохранения Иркутской области</a:t>
            </a:r>
          </a:p>
          <a:p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.В. Шелехов</a:t>
            </a:r>
          </a:p>
        </p:txBody>
      </p:sp>
      <p:grpSp>
        <p:nvGrpSpPr>
          <p:cNvPr id="5" name="object 7"/>
          <p:cNvGrpSpPr/>
          <p:nvPr/>
        </p:nvGrpSpPr>
        <p:grpSpPr>
          <a:xfrm>
            <a:off x="47327" y="890269"/>
            <a:ext cx="11332845" cy="57150"/>
            <a:chOff x="47327" y="890269"/>
            <a:chExt cx="11332845" cy="57150"/>
          </a:xfrm>
        </p:grpSpPr>
        <p:sp>
          <p:nvSpPr>
            <p:cNvPr id="6" name="object 8"/>
            <p:cNvSpPr/>
            <p:nvPr/>
          </p:nvSpPr>
          <p:spPr>
            <a:xfrm>
              <a:off x="47327" y="906779"/>
              <a:ext cx="3108960" cy="0"/>
            </a:xfrm>
            <a:custGeom>
              <a:avLst/>
              <a:gdLst/>
              <a:ahLst/>
              <a:cxnLst/>
              <a:rect l="l" t="t" r="r" b="b"/>
              <a:pathLst>
                <a:path w="3108960">
                  <a:moveTo>
                    <a:pt x="0" y="0"/>
                  </a:moveTo>
                  <a:lnTo>
                    <a:pt x="3108622" y="0"/>
                  </a:lnTo>
                </a:path>
              </a:pathLst>
            </a:custGeom>
            <a:ln w="1270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7" name="object 9"/>
            <p:cNvSpPr/>
            <p:nvPr/>
          </p:nvSpPr>
          <p:spPr>
            <a:xfrm>
              <a:off x="3155950" y="918844"/>
              <a:ext cx="8223884" cy="0"/>
            </a:xfrm>
            <a:custGeom>
              <a:avLst/>
              <a:gdLst/>
              <a:ahLst/>
              <a:cxnLst/>
              <a:rect l="l" t="t" r="r" b="b"/>
              <a:pathLst>
                <a:path w="8223884">
                  <a:moveTo>
                    <a:pt x="0" y="0"/>
                  </a:moveTo>
                  <a:lnTo>
                    <a:pt x="8223884" y="0"/>
                  </a:lnTo>
                </a:path>
              </a:pathLst>
            </a:custGeom>
            <a:ln w="57150">
              <a:solidFill>
                <a:srgbClr val="BB2F0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32770" name="Picture 2" descr="https://protiv-raka.ru/wp-content/uploads/2021/07/mzio_full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0"/>
            <a:ext cx="3480618" cy="8757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0968383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7"/>
          <p:cNvGrpSpPr/>
          <p:nvPr/>
        </p:nvGrpSpPr>
        <p:grpSpPr>
          <a:xfrm>
            <a:off x="47327" y="890269"/>
            <a:ext cx="11332845" cy="57150"/>
            <a:chOff x="47327" y="890269"/>
            <a:chExt cx="11332845" cy="57150"/>
          </a:xfrm>
        </p:grpSpPr>
        <p:sp>
          <p:nvSpPr>
            <p:cNvPr id="5" name="object 8"/>
            <p:cNvSpPr/>
            <p:nvPr/>
          </p:nvSpPr>
          <p:spPr>
            <a:xfrm>
              <a:off x="47327" y="906779"/>
              <a:ext cx="3108960" cy="0"/>
            </a:xfrm>
            <a:custGeom>
              <a:avLst/>
              <a:gdLst/>
              <a:ahLst/>
              <a:cxnLst/>
              <a:rect l="l" t="t" r="r" b="b"/>
              <a:pathLst>
                <a:path w="3108960">
                  <a:moveTo>
                    <a:pt x="0" y="0"/>
                  </a:moveTo>
                  <a:lnTo>
                    <a:pt x="3108622" y="0"/>
                  </a:lnTo>
                </a:path>
              </a:pathLst>
            </a:custGeom>
            <a:ln w="1270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9"/>
            <p:cNvSpPr/>
            <p:nvPr/>
          </p:nvSpPr>
          <p:spPr>
            <a:xfrm>
              <a:off x="3155950" y="918844"/>
              <a:ext cx="8223884" cy="0"/>
            </a:xfrm>
            <a:custGeom>
              <a:avLst/>
              <a:gdLst/>
              <a:ahLst/>
              <a:cxnLst/>
              <a:rect l="l" t="t" r="r" b="b"/>
              <a:pathLst>
                <a:path w="8223884">
                  <a:moveTo>
                    <a:pt x="0" y="0"/>
                  </a:moveTo>
                  <a:lnTo>
                    <a:pt x="8223884" y="0"/>
                  </a:lnTo>
                </a:path>
              </a:pathLst>
            </a:custGeom>
            <a:ln w="57150">
              <a:solidFill>
                <a:srgbClr val="BB2F0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Заголовок 1"/>
          <p:cNvSpPr txBox="1">
            <a:spLocks/>
          </p:cNvSpPr>
          <p:nvPr/>
        </p:nvSpPr>
        <p:spPr>
          <a:xfrm>
            <a:off x="3328051" y="239778"/>
            <a:ext cx="7495203" cy="64964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Бюджетные ассигнования на 2023 год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29051418"/>
              </p:ext>
            </p:extLst>
          </p:nvPr>
        </p:nvGraphicFramePr>
        <p:xfrm>
          <a:off x="197526" y="1294743"/>
          <a:ext cx="11582796" cy="50229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8623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0080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59575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913231"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b="1" i="0" u="none" strike="noStrike" kern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Федеральный бюджет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Региональный бюджет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42368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Выделено, млн. руб.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20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127,95</a:t>
                      </a:r>
                      <a:endParaRPr lang="ru-RU" sz="2000" b="1" i="0" u="none" strike="noStrike" kern="12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475,82 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497825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Освоено, млн. руб.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 098,68 </a:t>
                      </a:r>
                      <a:r>
                        <a:rPr lang="ru-RU" sz="20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(97,41%)</a:t>
                      </a:r>
                      <a:endParaRPr lang="ru-RU" sz="2000" b="1" i="0" u="none" strike="noStrike" kern="12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1</a:t>
                      </a:r>
                      <a:r>
                        <a:rPr lang="ru-RU" sz="20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213,83 (82,25%)</a:t>
                      </a:r>
                      <a:endParaRPr lang="ru-RU" sz="2000" b="1" i="0" u="none" strike="noStrike" kern="12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269506">
                <a:tc>
                  <a:txBody>
                    <a:bodyPr/>
                    <a:lstStyle/>
                    <a:p>
                      <a:pPr algn="l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Обеспечено, </a:t>
                      </a:r>
                    </a:p>
                    <a:p>
                      <a:pPr algn="l" fontAlgn="b"/>
                      <a:r>
                        <a:rPr lang="ru-RU" sz="16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(кол-во /сумма)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26 572</a:t>
                      </a:r>
                      <a:r>
                        <a:rPr lang="ru-RU" sz="20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чел.</a:t>
                      </a: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/214,41 </a:t>
                      </a: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млн. руб.</a:t>
                      </a:r>
                      <a:endParaRPr lang="ru-RU" sz="2000" b="1" i="0" u="none" strike="noStrike" kern="12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44 488 </a:t>
                      </a:r>
                      <a:r>
                        <a:rPr lang="ru-RU" sz="20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чел.</a:t>
                      </a: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Times New Roman" panose="02020603050405020304" pitchFamily="18" charset="0"/>
                        </a:rPr>
                        <a:t> /174,10 </a:t>
                      </a: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млн. руб.</a:t>
                      </a:r>
                      <a:endParaRPr lang="ru-RU" sz="2000" b="1" i="0" u="none" strike="noStrike" kern="12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  <a:p>
                      <a:pPr algn="ctr" fontAlgn="b"/>
                      <a:endParaRPr lang="ru-RU" sz="2000" b="0" i="0" u="none" strike="noStrike" kern="12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Times New Roman" panose="02020603050405020304" pitchFamily="18" charset="0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pic>
        <p:nvPicPr>
          <p:cNvPr id="9" name="Picture 2" descr="https://protiv-raka.ru/wp-content/uploads/2021/07/mzio_ful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0"/>
            <a:ext cx="3480618" cy="8757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423156297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7"/>
          <p:cNvGrpSpPr/>
          <p:nvPr/>
        </p:nvGrpSpPr>
        <p:grpSpPr>
          <a:xfrm>
            <a:off x="47327" y="890269"/>
            <a:ext cx="11332845" cy="57150"/>
            <a:chOff x="47327" y="890269"/>
            <a:chExt cx="11332845" cy="57150"/>
          </a:xfrm>
        </p:grpSpPr>
        <p:sp>
          <p:nvSpPr>
            <p:cNvPr id="5" name="object 8"/>
            <p:cNvSpPr/>
            <p:nvPr/>
          </p:nvSpPr>
          <p:spPr>
            <a:xfrm>
              <a:off x="47327" y="906779"/>
              <a:ext cx="3108960" cy="0"/>
            </a:xfrm>
            <a:custGeom>
              <a:avLst/>
              <a:gdLst/>
              <a:ahLst/>
              <a:cxnLst/>
              <a:rect l="l" t="t" r="r" b="b"/>
              <a:pathLst>
                <a:path w="3108960">
                  <a:moveTo>
                    <a:pt x="0" y="0"/>
                  </a:moveTo>
                  <a:lnTo>
                    <a:pt x="3108622" y="0"/>
                  </a:lnTo>
                </a:path>
              </a:pathLst>
            </a:custGeom>
            <a:ln w="1270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9"/>
            <p:cNvSpPr/>
            <p:nvPr/>
          </p:nvSpPr>
          <p:spPr>
            <a:xfrm>
              <a:off x="3155950" y="918844"/>
              <a:ext cx="8223884" cy="0"/>
            </a:xfrm>
            <a:custGeom>
              <a:avLst/>
              <a:gdLst/>
              <a:ahLst/>
              <a:cxnLst/>
              <a:rect l="l" t="t" r="r" b="b"/>
              <a:pathLst>
                <a:path w="8223884">
                  <a:moveTo>
                    <a:pt x="0" y="0"/>
                  </a:moveTo>
                  <a:lnTo>
                    <a:pt x="8223884" y="0"/>
                  </a:lnTo>
                </a:path>
              </a:pathLst>
            </a:custGeom>
            <a:ln w="57150">
              <a:solidFill>
                <a:srgbClr val="BB2F0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Заголовок 1"/>
          <p:cNvSpPr txBox="1">
            <a:spLocks/>
          </p:cNvSpPr>
          <p:nvPr/>
        </p:nvSpPr>
        <p:spPr>
          <a:xfrm>
            <a:off x="3281962" y="228633"/>
            <a:ext cx="8069687" cy="64964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Закупочная </a:t>
            </a:r>
            <a:r>
              <a:rPr lang="ru-RU" sz="28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еятеятельность</a:t>
            </a:r>
            <a:r>
              <a:rPr lang="ru-RU" sz="28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на 2023 год</a:t>
            </a:r>
          </a:p>
        </p:txBody>
      </p:sp>
      <p:graphicFrame>
        <p:nvGraphicFramePr>
          <p:cNvPr id="8" name="Таблица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369650"/>
              </p:ext>
            </p:extLst>
          </p:nvPr>
        </p:nvGraphicFramePr>
        <p:xfrm>
          <a:off x="207688" y="1225686"/>
          <a:ext cx="11624921" cy="250015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1610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22458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8423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50832"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b="1" i="0" u="none" strike="noStrike" kern="1200" dirty="0">
                        <a:solidFill>
                          <a:srgbClr val="002060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Times New Roman" panose="020206030504050203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Федеральный бюджет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marL="0" marR="0" indent="0" algn="ctr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Региональный бюджет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824660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Проведено ЭА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300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308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824660">
                <a:tc>
                  <a:txBody>
                    <a:bodyPr/>
                    <a:lstStyle/>
                    <a:p>
                      <a:pPr marL="0" marR="0" indent="0" algn="l" defTabSz="4572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Из них несостоявшиеся ЭА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58 (в 2022 г. – 93)</a:t>
                      </a:r>
                    </a:p>
                  </a:txBody>
                  <a:tcPr marL="9525" marR="9525" marT="9525" marB="0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2000" b="1" i="0" u="none" strike="noStrike" kern="120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51 (в</a:t>
                      </a:r>
                      <a:r>
                        <a:rPr lang="ru-RU" sz="2000" b="1" i="0" u="none" strike="noStrike" kern="1200" baseline="0" dirty="0">
                          <a:solidFill>
                            <a:srgbClr val="002060"/>
                          </a:solidFill>
                          <a:effectLst/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 2022 г. – 82) </a:t>
                      </a:r>
                      <a:endParaRPr lang="ru-RU" sz="2000" b="1" i="0" u="none" strike="noStrike" kern="1200" dirty="0">
                        <a:solidFill>
                          <a:srgbClr val="002060"/>
                        </a:solidFill>
                        <a:effectLst/>
                        <a:latin typeface="Times New Roman" panose="02020603050405020304" pitchFamily="18" charset="0"/>
                        <a:ea typeface="+mn-ea"/>
                        <a:cs typeface="+mn-cs"/>
                      </a:endParaRP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  <p:pic>
        <p:nvPicPr>
          <p:cNvPr id="9" name="Picture 2" descr="https://protiv-raka.ru/wp-content/uploads/2021/07/mzio_ful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0"/>
            <a:ext cx="3480618" cy="875767"/>
          </a:xfrm>
          <a:prstGeom prst="rect">
            <a:avLst/>
          </a:prstGeom>
          <a:noFill/>
        </p:spPr>
      </p:pic>
      <p:sp>
        <p:nvSpPr>
          <p:cNvPr id="10" name="TextBox 9"/>
          <p:cNvSpPr txBox="1"/>
          <p:nvPr/>
        </p:nvSpPr>
        <p:spPr>
          <a:xfrm>
            <a:off x="582622" y="3956305"/>
            <a:ext cx="10949736" cy="707886"/>
          </a:xfrm>
          <a:prstGeom prst="rect">
            <a:avLst/>
          </a:prstGeom>
          <a:solidFill>
            <a:schemeClr val="bg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sz="20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При этом, из несостоявшихся аукционов 55% после повторного размещения признаны состоявшимися и по этим закупкам заключены государственные контракты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2175821" y="5058158"/>
            <a:ext cx="7595975" cy="461665"/>
          </a:xfrm>
          <a:prstGeom prst="rect">
            <a:avLst/>
          </a:prstGeom>
          <a:solidFill>
            <a:schemeClr val="bg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причины несостоявшихся конкурсных процедур</a:t>
            </a:r>
            <a:endPara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3" name="Стрелка вниз 12"/>
          <p:cNvSpPr/>
          <p:nvPr/>
        </p:nvSpPr>
        <p:spPr>
          <a:xfrm>
            <a:off x="4582002" y="5515207"/>
            <a:ext cx="255236" cy="36675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Стрелка вниз 13"/>
          <p:cNvSpPr/>
          <p:nvPr/>
        </p:nvSpPr>
        <p:spPr>
          <a:xfrm>
            <a:off x="7284257" y="5528857"/>
            <a:ext cx="255236" cy="366750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TextBox 14"/>
          <p:cNvSpPr txBox="1"/>
          <p:nvPr/>
        </p:nvSpPr>
        <p:spPr>
          <a:xfrm>
            <a:off x="1250050" y="5906595"/>
            <a:ext cx="4441068" cy="461665"/>
          </a:xfrm>
          <a:prstGeom prst="rect">
            <a:avLst/>
          </a:prstGeom>
          <a:solidFill>
            <a:schemeClr val="bg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Низкая НМЦК</a:t>
            </a:r>
            <a:endPara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6274699" y="5908869"/>
            <a:ext cx="4441068" cy="461665"/>
          </a:xfrm>
          <a:prstGeom prst="rect">
            <a:avLst/>
          </a:prstGeom>
          <a:solidFill>
            <a:schemeClr val="bg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defRPr/>
            </a:pPr>
            <a:r>
              <a:rPr lang="ru-RU" sz="2400" b="1" dirty="0" err="1">
                <a:latin typeface="Times New Roman" pitchFamily="18" charset="0"/>
                <a:ea typeface="Tahoma" panose="020B0604030504040204" pitchFamily="34" charset="0"/>
                <a:cs typeface="Times New Roman" pitchFamily="18" charset="0"/>
              </a:rPr>
              <a:t>Дефектура</a:t>
            </a:r>
            <a:endParaRPr lang="ru-RU" sz="2400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404324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7"/>
          <p:cNvGrpSpPr/>
          <p:nvPr/>
        </p:nvGrpSpPr>
        <p:grpSpPr>
          <a:xfrm>
            <a:off x="47327" y="890269"/>
            <a:ext cx="11332845" cy="57150"/>
            <a:chOff x="47327" y="890269"/>
            <a:chExt cx="11332845" cy="57150"/>
          </a:xfrm>
        </p:grpSpPr>
        <p:sp>
          <p:nvSpPr>
            <p:cNvPr id="5" name="object 8"/>
            <p:cNvSpPr/>
            <p:nvPr/>
          </p:nvSpPr>
          <p:spPr>
            <a:xfrm>
              <a:off x="47327" y="906779"/>
              <a:ext cx="3108960" cy="0"/>
            </a:xfrm>
            <a:custGeom>
              <a:avLst/>
              <a:gdLst/>
              <a:ahLst/>
              <a:cxnLst/>
              <a:rect l="l" t="t" r="r" b="b"/>
              <a:pathLst>
                <a:path w="3108960">
                  <a:moveTo>
                    <a:pt x="0" y="0"/>
                  </a:moveTo>
                  <a:lnTo>
                    <a:pt x="3108622" y="0"/>
                  </a:lnTo>
                </a:path>
              </a:pathLst>
            </a:custGeom>
            <a:ln w="1270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9"/>
            <p:cNvSpPr/>
            <p:nvPr/>
          </p:nvSpPr>
          <p:spPr>
            <a:xfrm>
              <a:off x="3155950" y="918844"/>
              <a:ext cx="8223884" cy="0"/>
            </a:xfrm>
            <a:custGeom>
              <a:avLst/>
              <a:gdLst/>
              <a:ahLst/>
              <a:cxnLst/>
              <a:rect l="l" t="t" r="r" b="b"/>
              <a:pathLst>
                <a:path w="8223884">
                  <a:moveTo>
                    <a:pt x="0" y="0"/>
                  </a:moveTo>
                  <a:lnTo>
                    <a:pt x="8223884" y="0"/>
                  </a:lnTo>
                </a:path>
              </a:pathLst>
            </a:custGeom>
            <a:ln w="57150">
              <a:solidFill>
                <a:srgbClr val="BB2F0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Заголовок 1"/>
          <p:cNvSpPr txBox="1">
            <a:spLocks/>
          </p:cNvSpPr>
          <p:nvPr/>
        </p:nvSpPr>
        <p:spPr>
          <a:xfrm>
            <a:off x="2744780" y="191069"/>
            <a:ext cx="8069687" cy="64964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40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ура</a:t>
            </a:r>
            <a:endParaRPr lang="ru-RU" sz="40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2" descr="https://protiv-raka.ru/wp-content/uploads/2021/07/mzio_ful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0"/>
            <a:ext cx="3480618" cy="875767"/>
          </a:xfrm>
          <a:prstGeom prst="rect">
            <a:avLst/>
          </a:prstGeom>
          <a:noFill/>
        </p:spPr>
      </p:pic>
      <p:sp>
        <p:nvSpPr>
          <p:cNvPr id="10" name="Прямоугольник 9"/>
          <p:cNvSpPr/>
          <p:nvPr/>
        </p:nvSpPr>
        <p:spPr>
          <a:xfrm>
            <a:off x="620199" y="1114897"/>
            <a:ext cx="11019934" cy="1269108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УРА (</a:t>
            </a:r>
            <a:r>
              <a:rPr lang="ru-RU" sz="2400" b="1" dirty="0" err="1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ut-of-stock</a:t>
            </a:r>
            <a:r>
              <a:rPr lang="ru-RU" sz="2400" b="1" dirty="0">
                <a:solidFill>
                  <a:srgbClr val="FF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 </a:t>
            </a:r>
            <a:r>
              <a:rPr lang="ru-RU" sz="24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– обычное явление для мирового фармацевтического рынка, обозначает отсутствие тех или иных позиций в продаже. 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1050877" y="2483895"/>
            <a:ext cx="10249469" cy="193899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Ø"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Локальная (препарат отсутствует только в аптеке);</a:t>
            </a:r>
          </a:p>
          <a:p>
            <a:pPr>
              <a:buFont typeface="Wingdings" pitchFamily="2" charset="2"/>
              <a:buChar char="Ø"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Региональная (отсутствует в ассортименте региональных оптовых поставщиков);</a:t>
            </a:r>
          </a:p>
          <a:p>
            <a:pPr>
              <a:buFont typeface="Wingdings" pitchFamily="2" charset="2"/>
              <a:buChar char="Ø"/>
            </a:pPr>
            <a:r>
              <a:rPr lang="ru-RU" sz="24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Глобальная (отсутствует в обороте, например, по причине снятия с производства). </a:t>
            </a:r>
            <a:endParaRPr lang="ru-RU" sz="2400" dirty="0"/>
          </a:p>
        </p:txBody>
      </p:sp>
      <p:sp>
        <p:nvSpPr>
          <p:cNvPr id="15" name="Прямоугольник 14"/>
          <p:cNvSpPr/>
          <p:nvPr/>
        </p:nvSpPr>
        <p:spPr>
          <a:xfrm>
            <a:off x="865858" y="4330441"/>
            <a:ext cx="10611909" cy="2002121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Причины возникновения </a:t>
            </a:r>
            <a:r>
              <a:rPr lang="ru-RU" sz="2400" b="1" dirty="0" err="1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уры</a:t>
            </a:r>
            <a:r>
              <a:rPr lang="ru-RU" sz="24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ложности производственного или регуляторного характера;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жиотажный спрос;</a:t>
            </a:r>
          </a:p>
          <a:p>
            <a:pPr marL="285750" indent="-285750">
              <a:buFont typeface="Wingdings" panose="05000000000000000000" pitchFamily="2" charset="2"/>
              <a:buChar char="q"/>
            </a:pP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еополитическая ситуация, </a:t>
            </a:r>
            <a:r>
              <a:rPr lang="ru-RU" sz="24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анкционные</a:t>
            </a:r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меры.</a:t>
            </a:r>
          </a:p>
        </p:txBody>
      </p:sp>
    </p:spTree>
    <p:extLst>
      <p:ext uri="{BB962C8B-B14F-4D97-AF65-F5344CB8AC3E}">
        <p14:creationId xmlns:p14="http://schemas.microsoft.com/office/powerpoint/2010/main" val="330495724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7"/>
          <p:cNvGrpSpPr/>
          <p:nvPr/>
        </p:nvGrpSpPr>
        <p:grpSpPr>
          <a:xfrm>
            <a:off x="47327" y="890269"/>
            <a:ext cx="11332845" cy="57150"/>
            <a:chOff x="47327" y="890269"/>
            <a:chExt cx="11332845" cy="57150"/>
          </a:xfrm>
        </p:grpSpPr>
        <p:sp>
          <p:nvSpPr>
            <p:cNvPr id="5" name="object 8"/>
            <p:cNvSpPr/>
            <p:nvPr/>
          </p:nvSpPr>
          <p:spPr>
            <a:xfrm>
              <a:off x="47327" y="906779"/>
              <a:ext cx="3108960" cy="0"/>
            </a:xfrm>
            <a:custGeom>
              <a:avLst/>
              <a:gdLst/>
              <a:ahLst/>
              <a:cxnLst/>
              <a:rect l="l" t="t" r="r" b="b"/>
              <a:pathLst>
                <a:path w="3108960">
                  <a:moveTo>
                    <a:pt x="0" y="0"/>
                  </a:moveTo>
                  <a:lnTo>
                    <a:pt x="3108622" y="0"/>
                  </a:lnTo>
                </a:path>
              </a:pathLst>
            </a:custGeom>
            <a:ln w="1270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9"/>
            <p:cNvSpPr/>
            <p:nvPr/>
          </p:nvSpPr>
          <p:spPr>
            <a:xfrm>
              <a:off x="3155950" y="918844"/>
              <a:ext cx="8223884" cy="0"/>
            </a:xfrm>
            <a:custGeom>
              <a:avLst/>
              <a:gdLst/>
              <a:ahLst/>
              <a:cxnLst/>
              <a:rect l="l" t="t" r="r" b="b"/>
              <a:pathLst>
                <a:path w="8223884">
                  <a:moveTo>
                    <a:pt x="0" y="0"/>
                  </a:moveTo>
                  <a:lnTo>
                    <a:pt x="8223884" y="0"/>
                  </a:lnTo>
                </a:path>
              </a:pathLst>
            </a:custGeom>
            <a:ln w="57150">
              <a:solidFill>
                <a:srgbClr val="BB2F0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Заголовок 1"/>
          <p:cNvSpPr txBox="1">
            <a:spLocks/>
          </p:cNvSpPr>
          <p:nvPr/>
        </p:nvSpPr>
        <p:spPr>
          <a:xfrm>
            <a:off x="3399872" y="0"/>
            <a:ext cx="8610158" cy="898101"/>
          </a:xfrm>
          <a:prstGeom prst="rect">
            <a:avLst/>
          </a:prstGeom>
        </p:spPr>
        <p:txBody>
          <a:bodyPr anchor="t">
            <a:normAutofit fontScale="92500" lnSpcReduction="1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писок препаратов, которые вошли в перечень потенциально </a:t>
            </a:r>
            <a:r>
              <a:rPr lang="ru-RU" sz="24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урных</a:t>
            </a:r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лекарств по</a:t>
            </a:r>
          </a:p>
          <a:p>
            <a:pPr algn="ctr"/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решению межведомственной комиссии Минздрава России</a:t>
            </a:r>
          </a:p>
        </p:txBody>
      </p:sp>
      <p:pic>
        <p:nvPicPr>
          <p:cNvPr id="9" name="Picture 2" descr="https://protiv-raka.ru/wp-content/uploads/2021/07/mzio_ful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0"/>
            <a:ext cx="3480618" cy="875767"/>
          </a:xfrm>
          <a:prstGeom prst="rect">
            <a:avLst/>
          </a:prstGeom>
          <a:noFill/>
        </p:spPr>
      </p:pic>
      <p:sp>
        <p:nvSpPr>
          <p:cNvPr id="12" name="TextBox 11"/>
          <p:cNvSpPr txBox="1"/>
          <p:nvPr/>
        </p:nvSpPr>
        <p:spPr>
          <a:xfrm>
            <a:off x="890647" y="2386941"/>
            <a:ext cx="10236531" cy="4093428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pPr defTabSz="457200" fontAlgn="b"/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Среди них: </a:t>
            </a: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Леводопа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+ [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Бенсеразид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]</a:t>
            </a: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Дулаглутид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Карглумовая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кислота</a:t>
            </a: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Карбамазепин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Глицирризиновая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кислота +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Фосфолипиды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Налоксон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+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Оксикодон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Динутуксимаб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бета</a:t>
            </a: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Ондансетрон</a:t>
            </a: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(таблетки, раствор для инъекций)</a:t>
            </a: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Преднизолон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Бромдигидрохлорфенил-бензодиазепин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pPr defTabSz="457200" fontAlgn="b">
              <a:buFont typeface="Wingdings" pitchFamily="2" charset="2"/>
              <a:buChar char="Ø"/>
            </a:pPr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 </a:t>
            </a:r>
            <a:r>
              <a:rPr lang="ru-RU" sz="20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Диазепам</a:t>
            </a:r>
            <a:endParaRPr lang="ru-RU" sz="20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  <a:p>
            <a:endParaRPr lang="ru-RU" sz="2000" dirty="0"/>
          </a:p>
        </p:txBody>
      </p:sp>
      <p:sp>
        <p:nvSpPr>
          <p:cNvPr id="13" name="TextBox 12"/>
          <p:cNvSpPr txBox="1"/>
          <p:nvPr/>
        </p:nvSpPr>
        <p:spPr>
          <a:xfrm>
            <a:off x="848996" y="1189484"/>
            <a:ext cx="10249469" cy="10156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chemeClr val="tx1"/>
            </a:solidFill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wrap="square" rtlCol="0">
            <a:spAutoFit/>
          </a:bodyPr>
          <a:lstStyle/>
          <a:p>
            <a:r>
              <a:rPr lang="ru-RU" sz="20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На сегодняшний день, в этот список внесено почти 100 наименований.  97 позиций — 88 непатентованных наименований лекарств с разными дозировками или в разных формах выпуска. </a:t>
            </a:r>
          </a:p>
        </p:txBody>
      </p:sp>
    </p:spTree>
    <p:extLst>
      <p:ext uri="{BB962C8B-B14F-4D97-AF65-F5344CB8AC3E}">
        <p14:creationId xmlns:p14="http://schemas.microsoft.com/office/powerpoint/2010/main" val="6811517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object 7"/>
          <p:cNvGrpSpPr/>
          <p:nvPr/>
        </p:nvGrpSpPr>
        <p:grpSpPr>
          <a:xfrm>
            <a:off x="47327" y="890269"/>
            <a:ext cx="11332845" cy="57150"/>
            <a:chOff x="47327" y="890269"/>
            <a:chExt cx="11332845" cy="57150"/>
          </a:xfrm>
        </p:grpSpPr>
        <p:sp>
          <p:nvSpPr>
            <p:cNvPr id="5" name="object 8"/>
            <p:cNvSpPr/>
            <p:nvPr/>
          </p:nvSpPr>
          <p:spPr>
            <a:xfrm>
              <a:off x="47327" y="906779"/>
              <a:ext cx="3108960" cy="0"/>
            </a:xfrm>
            <a:custGeom>
              <a:avLst/>
              <a:gdLst/>
              <a:ahLst/>
              <a:cxnLst/>
              <a:rect l="l" t="t" r="r" b="b"/>
              <a:pathLst>
                <a:path w="3108960">
                  <a:moveTo>
                    <a:pt x="0" y="0"/>
                  </a:moveTo>
                  <a:lnTo>
                    <a:pt x="3108622" y="0"/>
                  </a:lnTo>
                </a:path>
              </a:pathLst>
            </a:custGeom>
            <a:ln w="1270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6" name="object 9"/>
            <p:cNvSpPr/>
            <p:nvPr/>
          </p:nvSpPr>
          <p:spPr>
            <a:xfrm>
              <a:off x="3155950" y="918844"/>
              <a:ext cx="8223884" cy="0"/>
            </a:xfrm>
            <a:custGeom>
              <a:avLst/>
              <a:gdLst/>
              <a:ahLst/>
              <a:cxnLst/>
              <a:rect l="l" t="t" r="r" b="b"/>
              <a:pathLst>
                <a:path w="8223884">
                  <a:moveTo>
                    <a:pt x="0" y="0"/>
                  </a:moveTo>
                  <a:lnTo>
                    <a:pt x="8223884" y="0"/>
                  </a:lnTo>
                </a:path>
              </a:pathLst>
            </a:custGeom>
            <a:ln w="57150">
              <a:solidFill>
                <a:srgbClr val="BB2F0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sp>
        <p:nvSpPr>
          <p:cNvPr id="7" name="Заголовок 1"/>
          <p:cNvSpPr txBox="1">
            <a:spLocks/>
          </p:cNvSpPr>
          <p:nvPr/>
        </p:nvSpPr>
        <p:spPr>
          <a:xfrm>
            <a:off x="3413520" y="207368"/>
            <a:ext cx="8069687" cy="649640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endParaRPr lang="ru-RU" sz="2200" b="1" dirty="0">
              <a:solidFill>
                <a:srgbClr val="C0000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9" name="Picture 2" descr="https://protiv-raka.ru/wp-content/uploads/2021/07/mzio_ful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0"/>
            <a:ext cx="3480618" cy="875767"/>
          </a:xfrm>
          <a:prstGeom prst="rect">
            <a:avLst/>
          </a:prstGeom>
          <a:noFill/>
        </p:spPr>
      </p:pic>
      <p:sp>
        <p:nvSpPr>
          <p:cNvPr id="10" name="Заголовок 1"/>
          <p:cNvSpPr txBox="1">
            <a:spLocks/>
          </p:cNvSpPr>
          <p:nvPr/>
        </p:nvSpPr>
        <p:spPr>
          <a:xfrm>
            <a:off x="3102989" y="0"/>
            <a:ext cx="8582331" cy="8981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4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урные</a:t>
            </a:r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позиции лекарственных препаратов </a:t>
            </a:r>
          </a:p>
          <a:p>
            <a:pPr algn="ctr"/>
            <a:r>
              <a:rPr lang="ru-RU" sz="24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(вне указанного перечня) 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56369650"/>
              </p:ext>
            </p:extLst>
          </p:nvPr>
        </p:nvGraphicFramePr>
        <p:xfrm>
          <a:off x="521765" y="1610436"/>
          <a:ext cx="11283548" cy="58909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1283548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589092">
                <a:tc>
                  <a:txBody>
                    <a:bodyPr/>
                    <a:lstStyle/>
                    <a:p>
                      <a:pPr algn="ctr" fontAlgn="b"/>
                      <a:r>
                        <a:rPr lang="ru-RU" sz="2200" b="1" i="0" u="none" strike="noStrike" kern="1200" dirty="0">
                          <a:solidFill>
                            <a:srgbClr val="002060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Times New Roman" panose="02020603050405020304" pitchFamily="18" charset="0"/>
                          <a:ea typeface="+mn-ea"/>
                          <a:cs typeface="+mn-cs"/>
                        </a:rPr>
                        <a:t>МНН</a:t>
                      </a:r>
                    </a:p>
                  </a:txBody>
                  <a:tcPr marL="9525" marR="9525" marT="9525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3" name="Стрелка вправо 12"/>
          <p:cNvSpPr/>
          <p:nvPr/>
        </p:nvSpPr>
        <p:spPr>
          <a:xfrm>
            <a:off x="1033153" y="3043450"/>
            <a:ext cx="645522" cy="457513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/>
          </a:p>
        </p:txBody>
      </p:sp>
      <p:sp>
        <p:nvSpPr>
          <p:cNvPr id="14" name="Стрелка вправо 13"/>
          <p:cNvSpPr/>
          <p:nvPr/>
        </p:nvSpPr>
        <p:spPr>
          <a:xfrm>
            <a:off x="1019299" y="3875964"/>
            <a:ext cx="686671" cy="478044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Стрелка вправо 14"/>
          <p:cNvSpPr/>
          <p:nvPr/>
        </p:nvSpPr>
        <p:spPr>
          <a:xfrm>
            <a:off x="1031175" y="4804012"/>
            <a:ext cx="688443" cy="511898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Стрелка вправо 15"/>
          <p:cNvSpPr/>
          <p:nvPr/>
        </p:nvSpPr>
        <p:spPr>
          <a:xfrm>
            <a:off x="1054925" y="5650173"/>
            <a:ext cx="678341" cy="556386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/>
          <p:cNvSpPr/>
          <p:nvPr/>
        </p:nvSpPr>
        <p:spPr>
          <a:xfrm>
            <a:off x="2025582" y="2981305"/>
            <a:ext cx="1729577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457200" fontAlgn="b">
              <a:defRPr/>
            </a:pPr>
            <a:r>
              <a:rPr lang="ru-RU" sz="24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Голимумаб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</p:txBody>
      </p:sp>
      <p:sp>
        <p:nvSpPr>
          <p:cNvPr id="18" name="Прямоугольник 17"/>
          <p:cNvSpPr/>
          <p:nvPr/>
        </p:nvSpPr>
        <p:spPr>
          <a:xfrm>
            <a:off x="2027780" y="3885778"/>
            <a:ext cx="267733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fontAlgn="b"/>
            <a:r>
              <a:rPr lang="ru-RU" sz="24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Цепэгинтерферон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</p:txBody>
      </p:sp>
      <p:sp>
        <p:nvSpPr>
          <p:cNvPr id="19" name="Прямоугольник 18"/>
          <p:cNvSpPr/>
          <p:nvPr/>
        </p:nvSpPr>
        <p:spPr>
          <a:xfrm>
            <a:off x="1979713" y="4786531"/>
            <a:ext cx="245581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defTabSz="457200" fontAlgn="b">
              <a:defRPr/>
            </a:pPr>
            <a:r>
              <a:rPr lang="ru-RU" sz="2400" b="1" dirty="0" err="1">
                <a:solidFill>
                  <a:srgbClr val="002060"/>
                </a:solidFill>
                <a:latin typeface="Times New Roman" panose="02020603050405020304" pitchFamily="18" charset="0"/>
              </a:rPr>
              <a:t>Пэгинтерферон</a:t>
            </a:r>
            <a:endParaRPr lang="ru-RU" sz="2400" b="1" dirty="0">
              <a:solidFill>
                <a:srgbClr val="002060"/>
              </a:solidFill>
              <a:latin typeface="Times New Roman" panose="02020603050405020304" pitchFamily="18" charset="0"/>
            </a:endParaRPr>
          </a:p>
        </p:txBody>
      </p:sp>
      <p:sp>
        <p:nvSpPr>
          <p:cNvPr id="20" name="Прямоугольник 19"/>
          <p:cNvSpPr/>
          <p:nvPr/>
        </p:nvSpPr>
        <p:spPr>
          <a:xfrm>
            <a:off x="2039126" y="5619044"/>
            <a:ext cx="2423099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2400" b="1" dirty="0">
                <a:solidFill>
                  <a:srgbClr val="002060"/>
                </a:solidFill>
                <a:latin typeface="Times New Roman" panose="02020603050405020304" pitchFamily="18" charset="0"/>
              </a:rPr>
              <a:t>Ко-</a:t>
            </a:r>
            <a:r>
              <a:rPr lang="ru-RU" sz="2400" b="1">
                <a:solidFill>
                  <a:srgbClr val="002060"/>
                </a:solidFill>
                <a:latin typeface="Times New Roman" panose="02020603050405020304" pitchFamily="18" charset="0"/>
              </a:rPr>
              <a:t>тримоксазол</a:t>
            </a:r>
            <a:endParaRPr lang="ru-RU" sz="2400" dirty="0"/>
          </a:p>
        </p:txBody>
      </p:sp>
    </p:spTree>
    <p:extLst>
      <p:ext uri="{BB962C8B-B14F-4D97-AF65-F5344CB8AC3E}">
        <p14:creationId xmlns:p14="http://schemas.microsoft.com/office/powerpoint/2010/main" val="303161525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object 7"/>
          <p:cNvGrpSpPr/>
          <p:nvPr/>
        </p:nvGrpSpPr>
        <p:grpSpPr>
          <a:xfrm>
            <a:off x="47327" y="890269"/>
            <a:ext cx="11332845" cy="57150"/>
            <a:chOff x="47327" y="890269"/>
            <a:chExt cx="11332845" cy="57150"/>
          </a:xfrm>
        </p:grpSpPr>
        <p:sp>
          <p:nvSpPr>
            <p:cNvPr id="9" name="object 8"/>
            <p:cNvSpPr/>
            <p:nvPr/>
          </p:nvSpPr>
          <p:spPr>
            <a:xfrm>
              <a:off x="47327" y="906779"/>
              <a:ext cx="3108960" cy="0"/>
            </a:xfrm>
            <a:custGeom>
              <a:avLst/>
              <a:gdLst/>
              <a:ahLst/>
              <a:cxnLst/>
              <a:rect l="l" t="t" r="r" b="b"/>
              <a:pathLst>
                <a:path w="3108960">
                  <a:moveTo>
                    <a:pt x="0" y="0"/>
                  </a:moveTo>
                  <a:lnTo>
                    <a:pt x="3108622" y="0"/>
                  </a:lnTo>
                </a:path>
              </a:pathLst>
            </a:custGeom>
            <a:ln w="1270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9"/>
            <p:cNvSpPr/>
            <p:nvPr/>
          </p:nvSpPr>
          <p:spPr>
            <a:xfrm>
              <a:off x="3155950" y="918844"/>
              <a:ext cx="8223884" cy="0"/>
            </a:xfrm>
            <a:custGeom>
              <a:avLst/>
              <a:gdLst/>
              <a:ahLst/>
              <a:cxnLst/>
              <a:rect l="l" t="t" r="r" b="b"/>
              <a:pathLst>
                <a:path w="8223884">
                  <a:moveTo>
                    <a:pt x="0" y="0"/>
                  </a:moveTo>
                  <a:lnTo>
                    <a:pt x="8223884" y="0"/>
                  </a:lnTo>
                </a:path>
              </a:pathLst>
            </a:custGeom>
            <a:ln w="57150">
              <a:solidFill>
                <a:srgbClr val="BB2F0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1" name="Picture 2" descr="https://protiv-raka.ru/wp-content/uploads/2021/07/mzio_full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0"/>
            <a:ext cx="3480618" cy="875767"/>
          </a:xfrm>
          <a:prstGeom prst="rect">
            <a:avLst/>
          </a:prstGeom>
          <a:noFill/>
        </p:spPr>
      </p:pic>
      <p:sp>
        <p:nvSpPr>
          <p:cNvPr id="12" name="Заголовок 1"/>
          <p:cNvSpPr txBox="1">
            <a:spLocks/>
          </p:cNvSpPr>
          <p:nvPr/>
        </p:nvSpPr>
        <p:spPr>
          <a:xfrm>
            <a:off x="3358929" y="163773"/>
            <a:ext cx="8610158" cy="8981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Меры по предотвращению </a:t>
            </a:r>
            <a:r>
              <a:rPr lang="ru-RU" sz="2000" b="1" dirty="0" err="1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дефектуры</a:t>
            </a:r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 лекарственных препаратов и медицинских изделий</a:t>
            </a:r>
          </a:p>
        </p:txBody>
      </p:sp>
      <p:sp>
        <p:nvSpPr>
          <p:cNvPr id="14" name="Прямоугольник 13"/>
          <p:cNvSpPr/>
          <p:nvPr/>
        </p:nvSpPr>
        <p:spPr>
          <a:xfrm>
            <a:off x="620199" y="1114896"/>
            <a:ext cx="11239705" cy="527225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24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дним из путей решения ликвидации дефицита стало внесение изменений в:</a:t>
            </a:r>
          </a:p>
          <a:p>
            <a:endParaRPr lang="ru-RU" sz="2400" b="1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24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Федеральным закон от 12.04.2010 № 61-ФЗ «Об обращении лекарственных средств» (принят Федеральный закон от 05.12.2022 № 502-ФЗ «О внесении изменений в статью 56 Федерального закона «Об обращении лекарственных средств»). </a:t>
            </a:r>
          </a:p>
          <a:p>
            <a:pPr>
              <a:buFont typeface="Wingdings" pitchFamily="2" charset="2"/>
              <a:buChar char="ü"/>
            </a:pPr>
            <a:endParaRPr lang="ru-RU" sz="2400" b="1" dirty="0">
              <a:solidFill>
                <a:schemeClr val="accent2">
                  <a:lumMod val="50000"/>
                </a:scheme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buFont typeface="Wingdings" pitchFamily="2" charset="2"/>
              <a:buChar char="ü"/>
            </a:pPr>
            <a:r>
              <a:rPr lang="ru-RU" sz="2400" b="1" dirty="0">
                <a:solidFill>
                  <a:schemeClr val="accent2">
                    <a:lumMod val="50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Федеральный закон № 502-ФЗ направлен на расширение услуг аптечных организаций и позволит использовать зарегистрированные лекарственные препараты при изготовлении лекарственных препаратов аптечными организациями, ветеринарными аптечными организациями, имеющими лицензию на фармацевтическую деятельность. </a:t>
            </a:r>
          </a:p>
        </p:txBody>
      </p:sp>
    </p:spTree>
    <p:extLst>
      <p:ext uri="{BB962C8B-B14F-4D97-AF65-F5344CB8AC3E}">
        <p14:creationId xmlns:p14="http://schemas.microsoft.com/office/powerpoint/2010/main" val="3055625861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8" name="object 7"/>
          <p:cNvGrpSpPr/>
          <p:nvPr/>
        </p:nvGrpSpPr>
        <p:grpSpPr>
          <a:xfrm>
            <a:off x="47327" y="890269"/>
            <a:ext cx="11332845" cy="57150"/>
            <a:chOff x="47327" y="890269"/>
            <a:chExt cx="11332845" cy="57150"/>
          </a:xfrm>
        </p:grpSpPr>
        <p:sp>
          <p:nvSpPr>
            <p:cNvPr id="9" name="object 8"/>
            <p:cNvSpPr/>
            <p:nvPr/>
          </p:nvSpPr>
          <p:spPr>
            <a:xfrm>
              <a:off x="47327" y="906779"/>
              <a:ext cx="3108960" cy="0"/>
            </a:xfrm>
            <a:custGeom>
              <a:avLst/>
              <a:gdLst/>
              <a:ahLst/>
              <a:cxnLst/>
              <a:rect l="l" t="t" r="r" b="b"/>
              <a:pathLst>
                <a:path w="3108960">
                  <a:moveTo>
                    <a:pt x="0" y="0"/>
                  </a:moveTo>
                  <a:lnTo>
                    <a:pt x="3108622" y="0"/>
                  </a:lnTo>
                </a:path>
              </a:pathLst>
            </a:custGeom>
            <a:ln w="12700">
              <a:solidFill>
                <a:srgbClr val="A6A6A6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  <p:sp>
          <p:nvSpPr>
            <p:cNvPr id="10" name="object 9"/>
            <p:cNvSpPr/>
            <p:nvPr/>
          </p:nvSpPr>
          <p:spPr>
            <a:xfrm>
              <a:off x="3155950" y="918844"/>
              <a:ext cx="8223884" cy="0"/>
            </a:xfrm>
            <a:custGeom>
              <a:avLst/>
              <a:gdLst/>
              <a:ahLst/>
              <a:cxnLst/>
              <a:rect l="l" t="t" r="r" b="b"/>
              <a:pathLst>
                <a:path w="8223884">
                  <a:moveTo>
                    <a:pt x="0" y="0"/>
                  </a:moveTo>
                  <a:lnTo>
                    <a:pt x="8223884" y="0"/>
                  </a:lnTo>
                </a:path>
              </a:pathLst>
            </a:custGeom>
            <a:ln w="57150">
              <a:solidFill>
                <a:srgbClr val="BB2F04"/>
              </a:solidFill>
            </a:ln>
          </p:spPr>
          <p:txBody>
            <a:bodyPr wrap="square" lIns="0" tIns="0" rIns="0" bIns="0" rtlCol="0"/>
            <a:lstStyle/>
            <a:p>
              <a:endParaRPr/>
            </a:p>
          </p:txBody>
        </p:sp>
      </p:grpSp>
      <p:pic>
        <p:nvPicPr>
          <p:cNvPr id="11" name="Picture 2" descr="https://protiv-raka.ru/wp-content/uploads/2021/07/mzio_full.pn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" y="0"/>
            <a:ext cx="3480618" cy="875767"/>
          </a:xfrm>
          <a:prstGeom prst="rect">
            <a:avLst/>
          </a:prstGeom>
          <a:noFill/>
        </p:spPr>
      </p:pic>
      <p:sp>
        <p:nvSpPr>
          <p:cNvPr id="13" name="Заголовок 1"/>
          <p:cNvSpPr txBox="1">
            <a:spLocks/>
          </p:cNvSpPr>
          <p:nvPr/>
        </p:nvSpPr>
        <p:spPr>
          <a:xfrm>
            <a:off x="3085974" y="163773"/>
            <a:ext cx="8610158" cy="898101"/>
          </a:xfrm>
          <a:prstGeom prst="rect">
            <a:avLst/>
          </a:prstGeom>
        </p:spPr>
        <p:txBody>
          <a:bodyPr anchor="t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ru-RU" sz="20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Аптечных организации, осуществляющие деятельность по изготовлению различных лекарственных форм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650861" y="1076627"/>
            <a:ext cx="10949736" cy="646331"/>
          </a:xfrm>
          <a:prstGeom prst="rect">
            <a:avLst/>
          </a:prstGeom>
          <a:solidFill>
            <a:schemeClr val="bg2"/>
          </a:solidFill>
        </p:spPr>
        <p:style>
          <a:lnRef idx="1">
            <a:schemeClr val="accent2"/>
          </a:lnRef>
          <a:fillRef idx="2">
            <a:schemeClr val="accent2"/>
          </a:fillRef>
          <a:effectRef idx="1">
            <a:schemeClr val="accent2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latin typeface="Times New Roman" pitchFamily="18" charset="0"/>
                <a:cs typeface="Times New Roman" pitchFamily="18" charset="0"/>
              </a:rPr>
              <a:t>Наш регион вошел в ТОП-10 регионов по количеству аптек, реализующих этот вид фармацевтической деятельности. В Иркутской области 25 таких аптечных организаций.</a:t>
            </a:r>
            <a:endParaRPr lang="ru-RU" b="1" dirty="0">
              <a:solidFill>
                <a:schemeClr val="tx1"/>
              </a:solidFill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17" name="Рисунок 16" descr="irkOblMO-min.pn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6417153" y="1937981"/>
            <a:ext cx="3973343" cy="3664424"/>
          </a:xfrm>
          <a:prstGeom prst="rect">
            <a:avLst/>
          </a:prstGeom>
        </p:spPr>
      </p:pic>
      <p:sp>
        <p:nvSpPr>
          <p:cNvPr id="18" name="TextBox 17"/>
          <p:cNvSpPr txBox="1"/>
          <p:nvPr/>
        </p:nvSpPr>
        <p:spPr>
          <a:xfrm>
            <a:off x="9553433" y="3857179"/>
            <a:ext cx="2638567" cy="30008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Иркутск;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Усть-Илимск;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Усолье-Сибирское</a:t>
            </a: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;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Нижнеудинск;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Железногорск;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r>
              <a:rPr lang="ru-RU" b="1" dirty="0" err="1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Шелехов</a:t>
            </a: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; </a:t>
            </a:r>
          </a:p>
          <a:p>
            <a:pPr>
              <a:lnSpc>
                <a:spcPct val="150000"/>
              </a:lnSpc>
              <a:buFont typeface="Arial" pitchFamily="34" charset="0"/>
              <a:buChar char="•"/>
            </a:pPr>
            <a:r>
              <a:rPr lang="ru-RU" b="1" dirty="0">
                <a:solidFill>
                  <a:schemeClr val="accent2">
                    <a:lumMod val="50000"/>
                  </a:schemeClr>
                </a:solidFill>
                <a:latin typeface="Times New Roman" pitchFamily="18" charset="0"/>
                <a:cs typeface="Times New Roman" pitchFamily="18" charset="0"/>
              </a:rPr>
              <a:t> Тайшет.</a:t>
            </a:r>
          </a:p>
        </p:txBody>
      </p:sp>
      <p:pic>
        <p:nvPicPr>
          <p:cNvPr id="20" name="Рисунок 19" descr="топ 10.jpg"/>
          <p:cNvPicPr>
            <a:picLocks noChangeAspect="1"/>
          </p:cNvPicPr>
          <p:nvPr/>
        </p:nvPicPr>
        <p:blipFill>
          <a:blip r:embed="rId4" cstate="print"/>
          <a:stretch>
            <a:fillRect/>
          </a:stretch>
        </p:blipFill>
        <p:spPr>
          <a:xfrm>
            <a:off x="627797" y="1727817"/>
            <a:ext cx="5564091" cy="5089239"/>
          </a:xfrm>
          <a:prstGeom prst="rect">
            <a:avLst/>
          </a:prstGeom>
          <a:ln>
            <a:solidFill>
              <a:schemeClr val="bg1"/>
            </a:solidFill>
          </a:ln>
          <a:effectLst>
            <a:outerShdw blurRad="50800" dist="50800" dir="5400000" algn="ctr" rotWithShape="0">
              <a:srgbClr val="00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47046070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857250" y="1049338"/>
            <a:ext cx="10515600" cy="2852737"/>
          </a:xfrm>
        </p:spPr>
        <p:txBody>
          <a:bodyPr>
            <a:normAutofit/>
          </a:bodyPr>
          <a:lstStyle/>
          <a:p>
            <a:pPr algn="ctr"/>
            <a:r>
              <a:rPr lang="ru-RU" sz="6000" b="1" dirty="0">
                <a:solidFill>
                  <a:srgbClr val="00206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imes New Roman" panose="02020603050405020304" pitchFamily="18" charset="0"/>
                <a:cs typeface="Times New Roman" panose="02020603050405020304" pitchFamily="18" charset="0"/>
              </a:rPr>
              <a:t>Спасибо за внимание!</a:t>
            </a:r>
          </a:p>
        </p:txBody>
      </p:sp>
      <p:pic>
        <p:nvPicPr>
          <p:cNvPr id="5" name="Picture 2" descr="https://protiv-raka.ru/wp-content/uploads/2021/07/mzio_full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" y="0"/>
            <a:ext cx="3480618" cy="8757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5765989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4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5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6_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Грань">
  <a:themeElements>
    <a:clrScheme name="Грань">
      <a:dk1>
        <a:sysClr val="windowText" lastClr="000000"/>
      </a:dk1>
      <a:lt1>
        <a:sysClr val="window" lastClr="FFFFFF"/>
      </a:lt1>
      <a:dk2>
        <a:srgbClr val="2C3C43"/>
      </a:dk2>
      <a:lt2>
        <a:srgbClr val="EBEBEB"/>
      </a:lt2>
      <a:accent1>
        <a:srgbClr val="5FCBEF"/>
      </a:accent1>
      <a:accent2>
        <a:srgbClr val="2E83C3"/>
      </a:accent2>
      <a:accent3>
        <a:srgbClr val="42D0A2"/>
      </a:accent3>
      <a:accent4>
        <a:srgbClr val="2E946B"/>
      </a:accent4>
      <a:accent5>
        <a:srgbClr val="42B051"/>
      </a:accent5>
      <a:accent6>
        <a:srgbClr val="96D141"/>
      </a:accent6>
      <a:hlink>
        <a:srgbClr val="3FCDE7"/>
      </a:hlink>
      <a:folHlink>
        <a:srgbClr val="A9D3E1"/>
      </a:folHlink>
    </a:clrScheme>
    <a:fontScheme name="Грань">
      <a:majorFont>
        <a:latin typeface="Trebuchet MS"/>
        <a:ea typeface=""/>
        <a:cs typeface=""/>
        <a:font script="Jpan" typeface="メイリオ"/>
        <a:font script="Hang" typeface="맑은 고딕"/>
        <a:font script="Hans" typeface="方正姚体"/>
        <a:font script="Hant" typeface="微軟正黑體"/>
        <a:font script="Arab" typeface="Tahoma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Trebuchet MS"/>
        <a:ea typeface=""/>
        <a:cs typeface=""/>
        <a:font script="Jpan" typeface="メイリオ"/>
        <a:font script="Hang" typeface="HY그래픽M"/>
        <a:font script="Hans" typeface="华文新魏"/>
        <a:font script="Hant" typeface="微軟正黑體"/>
        <a:font script="Arab" typeface="Tahoma"/>
        <a:font script="Hebr" typeface="Gisha"/>
        <a:font script="Thai" typeface="Iris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Грань">
      <a:fillStyleLst>
        <a:solidFill>
          <a:schemeClr val="phClr"/>
        </a:solidFill>
        <a:gradFill rotWithShape="1">
          <a:gsLst>
            <a:gs pos="0">
              <a:schemeClr val="phClr">
                <a:tint val="65000"/>
                <a:lumMod val="110000"/>
              </a:schemeClr>
            </a:gs>
            <a:gs pos="88000">
              <a:schemeClr val="phClr">
                <a:tint val="9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6000"/>
                <a:lumMod val="100000"/>
              </a:schemeClr>
            </a:gs>
            <a:gs pos="78000">
              <a:schemeClr val="phClr">
                <a:shade val="94000"/>
                <a:lumMod val="94000"/>
              </a:schemeClr>
            </a:gs>
          </a:gsLst>
          <a:lin ang="5400000" scaled="0"/>
        </a:gradFill>
      </a:fillStyleLst>
      <a:lnStyleLst>
        <a:ln w="12700" cap="rnd" cmpd="sng" algn="ctr">
          <a:solidFill>
            <a:schemeClr val="phClr"/>
          </a:solidFill>
          <a:prstDash val="solid"/>
        </a:ln>
        <a:ln w="19050" cap="rnd" cmpd="sng" algn="ctr">
          <a:solidFill>
            <a:schemeClr val="phClr"/>
          </a:solidFill>
          <a:prstDash val="solid"/>
        </a:ln>
        <a:ln w="25400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l"/>
          </a:scene3d>
          <a:sp3d prstMaterial="plastic">
            <a:bevelT w="0" h="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04000"/>
              </a:schemeClr>
            </a:gs>
            <a:gs pos="94000">
              <a:schemeClr val="phClr">
                <a:shade val="96000"/>
                <a:lumMod val="82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lumMod val="110000"/>
              </a:schemeClr>
            </a:gs>
            <a:gs pos="100000">
              <a:schemeClr val="phClr">
                <a:shade val="94000"/>
                <a:lumMod val="96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Facet" id="{C0C680CD-088A-49FC-A102-D699147F32B2}" vid="{0B5AB586-D108-4FC1-8368-649FE654B894}"/>
    </a:ext>
  </a:extLst>
</a:theme>
</file>

<file path=ppt/theme/theme6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068</TotalTime>
  <Words>480</Words>
  <Application>Microsoft Office PowerPoint</Application>
  <PresentationFormat>Широкоэкранный</PresentationFormat>
  <Paragraphs>82</Paragraphs>
  <Slides>9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0</vt:i4>
      </vt:variant>
      <vt:variant>
        <vt:lpstr>Тема</vt:lpstr>
      </vt:variant>
      <vt:variant>
        <vt:i4>5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9</vt:i4>
      </vt:variant>
    </vt:vector>
  </HeadingPairs>
  <TitlesOfParts>
    <vt:vector size="25" baseType="lpstr">
      <vt:lpstr>Arial</vt:lpstr>
      <vt:lpstr>Calibri</vt:lpstr>
      <vt:lpstr>Calibri Light</vt:lpstr>
      <vt:lpstr>Fira Sans</vt:lpstr>
      <vt:lpstr>Fira Sans Light</vt:lpstr>
      <vt:lpstr>Tahoma</vt:lpstr>
      <vt:lpstr>Times New Roman</vt:lpstr>
      <vt:lpstr>Trebuchet MS</vt:lpstr>
      <vt:lpstr>Wingdings</vt:lpstr>
      <vt:lpstr>Wingdings 3</vt:lpstr>
      <vt:lpstr>3_Custom Design</vt:lpstr>
      <vt:lpstr>4_Custom Design</vt:lpstr>
      <vt:lpstr>5_Custom Design</vt:lpstr>
      <vt:lpstr>6_Custom Design</vt:lpstr>
      <vt:lpstr>Грань</vt:lpstr>
      <vt:lpstr>think-cell Slide</vt:lpstr>
      <vt:lpstr>О вопросах ликвидации дефицита на рынке лекарственных средств и медицинских изделий Иркутской област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Спасибо за внимание!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амойлов Константин Брониславович</dc:creator>
  <cp:lastModifiedBy>Егор П. Панов</cp:lastModifiedBy>
  <cp:revision>408</cp:revision>
  <cp:lastPrinted>2021-02-01T05:18:59Z</cp:lastPrinted>
  <dcterms:created xsi:type="dcterms:W3CDTF">2020-02-11T12:13:15Z</dcterms:created>
  <dcterms:modified xsi:type="dcterms:W3CDTF">2023-03-27T07:05:18Z</dcterms:modified>
</cp:coreProperties>
</file>